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Override4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5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6.xml" ContentType="application/vnd.openxmlformats-officedocument.themeOverride+xml"/>
  <Override PartName="/ppt/tags/tag62.xml" ContentType="application/vnd.openxmlformats-officedocument.presentationml.tags+xml"/>
  <Override PartName="/ppt/theme/themeOverride7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8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Override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3"/>
  </p:sldMasterIdLst>
  <p:notesMasterIdLst>
    <p:notesMasterId r:id="rId15"/>
  </p:notesMasterIdLst>
  <p:sldIdLst>
    <p:sldId id="309" r:id="rId4"/>
    <p:sldId id="2147480608" r:id="rId5"/>
    <p:sldId id="257" r:id="rId6"/>
    <p:sldId id="306" r:id="rId7"/>
    <p:sldId id="291" r:id="rId8"/>
    <p:sldId id="294" r:id="rId9"/>
    <p:sldId id="295" r:id="rId10"/>
    <p:sldId id="2147478153" r:id="rId11"/>
    <p:sldId id="2147478154" r:id="rId12"/>
    <p:sldId id="293" r:id="rId13"/>
    <p:sldId id="299" r:id="rId14"/>
  </p:sldIdLst>
  <p:sldSz cx="10969625" cy="6170613"/>
  <p:notesSz cx="6858000" cy="9144000"/>
  <p:custDataLst>
    <p:tags r:id="rId1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68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26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609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BF558F48-F6D6-4568-8DA6-55FAE81CC26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7200" y="2602898"/>
            <a:ext cx="9268637" cy="1507549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B0DFCC-F037-4745-849A-E2902A32AC76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7200" y="4241130"/>
            <a:ext cx="9268637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4" name="SuperGraphic">
            <a:extLst>
              <a:ext uri="{FF2B5EF4-FFF2-40B4-BE49-F238E27FC236}">
                <a16:creationId xmlns:a16="http://schemas.microsoft.com/office/drawing/2014/main" id="{862C2846-F73C-4F37-B810-57D2567D11EB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969200" cy="2056725"/>
          </a:xfrm>
          <a:prstGeom prst="rect">
            <a:avLst/>
          </a:prstGeom>
        </p:spPr>
      </p:pic>
      <p:sp>
        <p:nvSpPr>
          <p:cNvPr id="2" name="Bosch_footer_conf">
            <a:extLst>
              <a:ext uri="{FF2B5EF4-FFF2-40B4-BE49-F238E27FC236}">
                <a16:creationId xmlns:a16="http://schemas.microsoft.com/office/drawing/2014/main" id="{EB4CC976-E504-9F9B-AAA8-4B8F85DDABEF}"/>
              </a:ext>
            </a:extLst>
          </p:cNvPr>
          <p:cNvSpPr txBox="1"/>
          <p:nvPr userDrawn="1"/>
        </p:nvSpPr>
        <p:spPr>
          <a:xfrm>
            <a:off x="547200" y="5688000"/>
            <a:ext cx="9126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Public C-SC0</a:t>
            </a:r>
          </a:p>
        </p:txBody>
      </p:sp>
    </p:spTree>
    <p:extLst>
      <p:ext uri="{BB962C8B-B14F-4D97-AF65-F5344CB8AC3E}">
        <p14:creationId xmlns:p14="http://schemas.microsoft.com/office/powerpoint/2010/main" val="21498485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2" userDrawn="1">
          <p15:clr>
            <a:srgbClr val="FBAE40"/>
          </p15:clr>
        </p15:guide>
        <p15:guide id="2" pos="6185" userDrawn="1">
          <p15:clr>
            <a:srgbClr val="FBAE40"/>
          </p15:clr>
        </p15:guide>
        <p15:guide id="3" orient="horz" pos="1639" userDrawn="1">
          <p15:clr>
            <a:srgbClr val="FBAE40"/>
          </p15:clr>
        </p15:guide>
        <p15:guide id="4" orient="horz" pos="2590" userDrawn="1">
          <p15:clr>
            <a:srgbClr val="FBAE40"/>
          </p15:clr>
        </p15:guide>
        <p15:guide id="5" orient="horz" pos="2669" userDrawn="1">
          <p15:clr>
            <a:srgbClr val="FBAE40"/>
          </p15:clr>
        </p15:guide>
        <p15:guide id="6" orient="horz" pos="34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 logo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-1" y="0"/>
            <a:ext cx="10899775" cy="6170400"/>
          </a:xfrm>
          <a:blipFill dpi="0" rotWithShape="1">
            <a:blip r:embed="rId2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pic>
        <p:nvPicPr>
          <p:cNvPr id="6" name="SuperGraphic">
            <a:extLst>
              <a:ext uri="{FF2B5EF4-FFF2-40B4-BE49-F238E27FC236}">
                <a16:creationId xmlns:a16="http://schemas.microsoft.com/office/drawing/2014/main" id="{2D38AACD-EB97-4B81-ACAA-2074E22BBC0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  <p:sp>
        <p:nvSpPr>
          <p:cNvPr id="2" name="Logo">
            <a:extLst>
              <a:ext uri="{FF2B5EF4-FFF2-40B4-BE49-F238E27FC236}">
                <a16:creationId xmlns:a16="http://schemas.microsoft.com/office/drawing/2014/main" id="{F002D116-88B8-2720-FAAC-860765E59F72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672212" y="5561282"/>
            <a:ext cx="1231531" cy="506144"/>
          </a:xfrm>
          <a:blipFill>
            <a:blip r:embed="rId4"/>
            <a:stretch>
              <a:fillRect/>
            </a:stretch>
          </a:blipFill>
        </p:spPr>
        <p:txBody>
          <a:bodyPr anchor="t" anchorCtr="0"/>
          <a:lstStyle>
            <a:lvl1pPr marL="0" indent="0" algn="l">
              <a:buFontTx/>
              <a:buNone/>
              <a:defRPr sz="100">
                <a:noFill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 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232102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2" pos="686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05200" y="1296000"/>
            <a:ext cx="105588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3261F3-E57F-4170-BD7E-F44931BE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6EE88F-E97F-46A3-8AB7-354C833C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06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96000" y="1295999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AttachmentRemark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F85651-AA1F-4EE5-A69C-0361B9A9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5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8776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500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82224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68EDC3-D46C-4E18-BC78-B9478A7BD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1731" userDrawn="1">
          <p15:clr>
            <a:srgbClr val="FBAE40"/>
          </p15:clr>
        </p15:guide>
        <p15:guide id="9" pos="1810" userDrawn="1">
          <p15:clr>
            <a:srgbClr val="FBAE40"/>
          </p15:clr>
        </p15:guide>
        <p15:guide id="10" pos="3417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98" userDrawn="1">
          <p15:clr>
            <a:srgbClr val="FBAE40"/>
          </p15:clr>
        </p15:guide>
        <p15:guide id="13" pos="517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37342F-2EB7-4EB1-963F-314A664F0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5850000" y="1295999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58500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5D5130-F453-4F60-9091-CC67A951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39006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960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half" idx="4" hasCustomPrompt="1"/>
          </p:nvPr>
        </p:nvSpPr>
        <p:spPr>
          <a:xfrm>
            <a:off x="39006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half" idx="6" hasCustomPrompt="1"/>
          </p:nvPr>
        </p:nvSpPr>
        <p:spPr>
          <a:xfrm>
            <a:off x="75960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6" name="AttachmentRemark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C4D98D-B6D0-4EAC-B595-B1B3F34F7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  <p15:guide id="12" orient="horz" pos="2113" userDrawn="1">
          <p15:clr>
            <a:srgbClr val="FBAE40"/>
          </p15:clr>
        </p15:guide>
        <p15:guide id="13" orient="horz" pos="219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28776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00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half" idx="7" hasCustomPrompt="1"/>
          </p:nvPr>
        </p:nvSpPr>
        <p:spPr>
          <a:xfrm>
            <a:off x="82224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half" idx="4" hasCustomPrompt="1"/>
          </p:nvPr>
        </p:nvSpPr>
        <p:spPr>
          <a:xfrm>
            <a:off x="28776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00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half" idx="8" hasCustomPrompt="1"/>
          </p:nvPr>
        </p:nvSpPr>
        <p:spPr>
          <a:xfrm>
            <a:off x="82224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AttachmentRemark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FE2449-86F7-413D-AD74-17B8BDC57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1731" userDrawn="1">
          <p15:clr>
            <a:srgbClr val="FBAE40"/>
          </p15:clr>
        </p15:guide>
        <p15:guide id="11" pos="181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98" userDrawn="1">
          <p15:clr>
            <a:srgbClr val="FBAE40"/>
          </p15:clr>
        </p15:guide>
        <p15:guide id="15" pos="517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C74776-286D-45CF-B42A-A491ED08BE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4A29A7-9E35-4523-8421-38341F67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43858496-C239-47F8-BDF4-1C95D89182D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89593" y="1152144"/>
            <a:ext cx="7132831" cy="2044365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5C2B86F-C1CA-4E64-9221-A99B4E89D28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3289593" y="3327191"/>
            <a:ext cx="7132831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3" name="SuperGraphic">
            <a:extLst>
              <a:ext uri="{FF2B5EF4-FFF2-40B4-BE49-F238E27FC236}">
                <a16:creationId xmlns:a16="http://schemas.microsoft.com/office/drawing/2014/main" id="{8E3B306C-041F-4487-8C98-1BF9B6BE172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742494" cy="6170613"/>
          </a:xfrm>
          <a:prstGeom prst="rect">
            <a:avLst/>
          </a:prstGeom>
        </p:spPr>
      </p:pic>
      <p:sp>
        <p:nvSpPr>
          <p:cNvPr id="2" name="Bosch_footer_conf">
            <a:extLst>
              <a:ext uri="{FF2B5EF4-FFF2-40B4-BE49-F238E27FC236}">
                <a16:creationId xmlns:a16="http://schemas.microsoft.com/office/drawing/2014/main" id="{37724B12-9637-FD34-B3B0-53E9BF1D1434}"/>
              </a:ext>
            </a:extLst>
          </p:cNvPr>
          <p:cNvSpPr txBox="1"/>
          <p:nvPr userDrawn="1"/>
        </p:nvSpPr>
        <p:spPr>
          <a:xfrm>
            <a:off x="3279600" y="5688000"/>
            <a:ext cx="6354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Public C-SC0</a:t>
            </a:r>
          </a:p>
        </p:txBody>
      </p:sp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70" userDrawn="1">
          <p15:clr>
            <a:srgbClr val="FBAE40"/>
          </p15:clr>
        </p15:guide>
        <p15:guide id="2" pos="6566" userDrawn="1">
          <p15:clr>
            <a:srgbClr val="FBAE40"/>
          </p15:clr>
        </p15:guide>
        <p15:guide id="3" orient="horz" pos="2093" userDrawn="1">
          <p15:clr>
            <a:srgbClr val="FBAE40"/>
          </p15:clr>
        </p15:guide>
        <p15:guide id="4" orient="horz" pos="2014" userDrawn="1">
          <p15:clr>
            <a:srgbClr val="FBAE40"/>
          </p15:clr>
        </p15:guide>
        <p15:guide id="5" orient="horz" pos="347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ttachmentRemark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0A8589-A8D2-4132-B89B-2FADFC125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E881C9CD-D10B-4CDB-B44D-3FBD5D07A516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00" y="2602896"/>
            <a:ext cx="9268637" cy="2892602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0" y="99"/>
            <a:ext cx="10969625" cy="2055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781" y="98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2" name="Bosch_footer_conf">
            <a:extLst>
              <a:ext uri="{FF2B5EF4-FFF2-40B4-BE49-F238E27FC236}">
                <a16:creationId xmlns:a16="http://schemas.microsoft.com/office/drawing/2014/main" id="{DB38986C-DCE5-D964-B0BA-9AB589C96711}"/>
              </a:ext>
            </a:extLst>
          </p:cNvPr>
          <p:cNvSpPr txBox="1"/>
          <p:nvPr userDrawn="1"/>
        </p:nvSpPr>
        <p:spPr>
          <a:xfrm>
            <a:off x="547200" y="5688000"/>
            <a:ext cx="9126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Public C-SC0</a:t>
            </a:r>
          </a:p>
        </p:txBody>
      </p:sp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2" userDrawn="1">
          <p15:clr>
            <a:srgbClr val="FBAE40"/>
          </p15:clr>
        </p15:guide>
        <p15:guide id="2" pos="6185" userDrawn="1">
          <p15:clr>
            <a:srgbClr val="FBAE40"/>
          </p15:clr>
        </p15:guide>
        <p15:guide id="3" orient="horz" pos="1639" userDrawn="1">
          <p15:clr>
            <a:srgbClr val="FBAE40"/>
          </p15:clr>
        </p15:guide>
        <p15:guide id="4" orient="horz" pos="346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E5083679-3829-4F0B-9E1A-B4E6F314AFD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79831" y="1200075"/>
            <a:ext cx="7072741" cy="3142785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-1" y="99"/>
            <a:ext cx="2739600" cy="617051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4400" y="99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5" name="SuperGraphic">
            <a:extLst>
              <a:ext uri="{FF2B5EF4-FFF2-40B4-BE49-F238E27FC236}">
                <a16:creationId xmlns:a16="http://schemas.microsoft.com/office/drawing/2014/main" id="{B93399BE-B0B2-44B3-8FAE-18A968B3CDA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  <p:sp>
        <p:nvSpPr>
          <p:cNvPr id="2" name="Bosch_footer_conf">
            <a:extLst>
              <a:ext uri="{FF2B5EF4-FFF2-40B4-BE49-F238E27FC236}">
                <a16:creationId xmlns:a16="http://schemas.microsoft.com/office/drawing/2014/main" id="{9615C293-AF3D-B45D-E4FB-BC09FDE03C19}"/>
              </a:ext>
            </a:extLst>
          </p:cNvPr>
          <p:cNvSpPr txBox="1"/>
          <p:nvPr userDrawn="1"/>
        </p:nvSpPr>
        <p:spPr>
          <a:xfrm>
            <a:off x="3279600" y="5688000"/>
            <a:ext cx="6354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Public C-SC0</a:t>
            </a:r>
          </a:p>
        </p:txBody>
      </p:sp>
    </p:spTree>
    <p:extLst>
      <p:ext uri="{BB962C8B-B14F-4D97-AF65-F5344CB8AC3E}">
        <p14:creationId xmlns:p14="http://schemas.microsoft.com/office/powerpoint/2010/main" val="8330814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64" userDrawn="1">
          <p15:clr>
            <a:srgbClr val="FBAE40"/>
          </p15:clr>
        </p15:guide>
        <p15:guide id="2" pos="6524" userDrawn="1">
          <p15:clr>
            <a:srgbClr val="FBAE40"/>
          </p15:clr>
        </p15:guide>
        <p15:guide id="3" orient="horz" pos="754" userDrawn="1">
          <p15:clr>
            <a:srgbClr val="FBAE40"/>
          </p15:clr>
        </p15:guide>
        <p15:guide id="4" orient="horz" pos="2738" userDrawn="1">
          <p15:clr>
            <a:srgbClr val="FBAE40"/>
          </p15:clr>
        </p15:guide>
        <p15:guide id="5" pos="29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out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926F8EF2-FFD9-4D48-A076-77C0B811BAB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7658009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B77066FA-8AE8-47E2-8A79-1355389EE47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3AE72B7-66D7-4755-9A92-9BAA3A80886F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6B548-69AA-497B-BD64-E14E4F9EA5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406800" y="1036800"/>
            <a:ext cx="3780000" cy="2484000"/>
          </a:xfrm>
          <a:solidFill>
            <a:schemeClr val="bg1"/>
          </a:solidFill>
        </p:spPr>
        <p:txBody>
          <a:bodyPr lIns="252000" tIns="216000" rIns="252000" bIns="21600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648965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ogo">
            <a:extLst>
              <a:ext uri="{FF2B5EF4-FFF2-40B4-BE49-F238E27FC236}">
                <a16:creationId xmlns:a16="http://schemas.microsoft.com/office/drawing/2014/main" id="{1630DC1C-C3C8-477E-AC19-4DC706EB499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3085200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0CB4FC-C276-4DB5-A6E3-49DD9BC66B63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205199" y="3495705"/>
            <a:ext cx="10558800" cy="2041094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320614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949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orient="horz" pos="220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FD4E5E48-387B-4CE0-80BE-1097F697DAD5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5486400" cy="6170400"/>
          </a:xfrm>
          <a:blipFill dpi="0" rotWithShape="1">
            <a:blip r:embed="rId3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647D1E-89E9-4244-B52F-555902731C7A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895302" y="410492"/>
            <a:ext cx="4596486" cy="5126308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  <p:pic>
        <p:nvPicPr>
          <p:cNvPr id="6" name="SuperGraphic">
            <a:extLst>
              <a:ext uri="{FF2B5EF4-FFF2-40B4-BE49-F238E27FC236}">
                <a16:creationId xmlns:a16="http://schemas.microsoft.com/office/drawing/2014/main" id="{2D38AACD-EB97-4B81-ACAA-2074E22BBC0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005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56" userDrawn="1">
          <p15:clr>
            <a:srgbClr val="FBAE40"/>
          </p15:clr>
        </p15:guide>
        <p15:guide id="2" pos="6609" userDrawn="1">
          <p15:clr>
            <a:srgbClr val="FBAE40"/>
          </p15:clr>
        </p15:guide>
        <p15:guide id="3" orient="horz" pos="257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pos="371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 logo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-1"/>
            <a:ext cx="10969625" cy="6102967"/>
          </a:xfrm>
          <a:blipFill dpi="0" rotWithShape="1">
            <a:blip r:embed="rId2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6" name="Logo">
            <a:extLst>
              <a:ext uri="{FF2B5EF4-FFF2-40B4-BE49-F238E27FC236}">
                <a16:creationId xmlns:a16="http://schemas.microsoft.com/office/drawing/2014/main" id="{0C8D7868-566A-E406-AA76-0F7E438D381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672212" y="5561282"/>
            <a:ext cx="1231531" cy="506144"/>
          </a:xfrm>
          <a:blipFill>
            <a:blip r:embed="rId4"/>
            <a:stretch>
              <a:fillRect/>
            </a:stretch>
          </a:blipFill>
        </p:spPr>
        <p:txBody>
          <a:bodyPr anchor="t" anchorCtr="0"/>
          <a:lstStyle>
            <a:lvl1pPr marL="0" indent="0" algn="l">
              <a:buFontTx/>
              <a:buNone/>
              <a:defRPr sz="100">
                <a:noFill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 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135774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8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id="{F38A617B-35DF-43CE-B5F7-67FA9A7F247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200" y="648000"/>
            <a:ext cx="10558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Add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200" y="1296000"/>
            <a:ext cx="10558800" cy="424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1"/>
              <a:t>Mastertext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  <a:endParaRPr lang="en-US" noProof="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5200" y="566640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sp>
        <p:nvSpPr>
          <p:cNvPr id="14" name="Bosch_footer_1">
            <a:extLst>
              <a:ext uri="{FF2B5EF4-FFF2-40B4-BE49-F238E27FC236}">
                <a16:creationId xmlns:a16="http://schemas.microsoft.com/office/drawing/2014/main" id="{179AD5EC-CEF2-4193-998B-D730BC74E01B}"/>
              </a:ext>
            </a:extLst>
          </p:cNvPr>
          <p:cNvSpPr txBox="1"/>
          <p:nvPr userDrawn="1"/>
        </p:nvSpPr>
        <p:spPr>
          <a:xfrm>
            <a:off x="547200" y="5688000"/>
            <a:ext cx="9126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Public C-SC0</a:t>
            </a: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 | PS-DC/PRM-MI | 2025-10-24</a:t>
            </a: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47200" y="5793901"/>
            <a:ext cx="912600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noProof="1">
                <a:solidFill>
                  <a:srgbClr val="B2B3B5"/>
                </a:solidFill>
                <a:latin typeface="Bosch Office Sans" pitchFamily="2" charset="0"/>
              </a:rPr>
              <a:t>© Robert Bosch GmbH 2025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15" name="Bosch_footer_1" hidden="1">
            <a:extLst>
              <a:ext uri="{FF2B5EF4-FFF2-40B4-BE49-F238E27FC236}">
                <a16:creationId xmlns:a16="http://schemas.microsoft.com/office/drawing/2014/main" id="{DB0BF576-A4BE-4521-98AB-F28795DF7BD0}"/>
              </a:ext>
            </a:extLst>
          </p:cNvPr>
          <p:cNvSpPr txBox="1"/>
          <p:nvPr userDrawn="1"/>
        </p:nvSpPr>
        <p:spPr>
          <a:xfrm>
            <a:off x="816069" y="5383543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lassification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5" name="Bosch_footer_conf" hidden="1">
            <a:extLst>
              <a:ext uri="{FF2B5EF4-FFF2-40B4-BE49-F238E27FC236}">
                <a16:creationId xmlns:a16="http://schemas.microsoft.com/office/drawing/2014/main" id="{F284BCA6-6C15-7058-29DB-AB9000B6F1CF}"/>
              </a:ext>
            </a:extLst>
          </p:cNvPr>
          <p:cNvSpPr txBox="1"/>
          <p:nvPr userDrawn="1"/>
        </p:nvSpPr>
        <p:spPr>
          <a:xfrm>
            <a:off x="816069" y="5168593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lassification%</a:t>
            </a:r>
            <a:endParaRPr lang="en-US" sz="600" kern="0" baseline="0" noProof="1">
              <a:solidFill>
                <a:schemeClr val="tx1"/>
              </a:solidFill>
            </a:endParaRPr>
          </a:p>
        </p:txBody>
      </p:sp>
      <p:sp>
        <p:nvSpPr>
          <p:cNvPr id="13" name="AttachmentRemark" hidden="1">
            <a:extLst>
              <a:ext uri="{FF2B5EF4-FFF2-40B4-BE49-F238E27FC236}">
                <a16:creationId xmlns:a16="http://schemas.microsoft.com/office/drawing/2014/main" id="{F41551A9-D6BA-431A-8DBF-55BA472D9657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12" name="SuperGraphic">
            <a:extLst>
              <a:ext uri="{FF2B5EF4-FFF2-40B4-BE49-F238E27FC236}">
                <a16:creationId xmlns:a16="http://schemas.microsoft.com/office/drawing/2014/main" id="{1E0562BC-DD12-4C96-A115-D2D70EC1366D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10" r:id="rId2"/>
    <p:sldLayoutId id="2147483713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46" r:id="rId11"/>
    <p:sldLayoutId id="2147483744" r:id="rId12"/>
    <p:sldLayoutId id="2147483724" r:id="rId13"/>
    <p:sldLayoutId id="2147483726" r:id="rId14"/>
    <p:sldLayoutId id="2147483727" r:id="rId15"/>
    <p:sldLayoutId id="2147483728" r:id="rId16"/>
    <p:sldLayoutId id="2147483729" r:id="rId17"/>
    <p:sldLayoutId id="2147483745" r:id="rId18"/>
    <p:sldLayoutId id="2147483723" r:id="rId19"/>
    <p:sldLayoutId id="2147483734" r:id="rId20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0400" indent="-230400" algn="l" defTabSz="914333" rtl="0" eaLnBrk="1" latinLnBrk="0" hangingPunct="1">
        <a:lnSpc>
          <a:spcPct val="107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7600" indent="-230400" algn="l" defTabSz="914333" rtl="0" eaLnBrk="1" latinLnBrk="0" hangingPunct="1">
        <a:lnSpc>
          <a:spcPct val="103000"/>
        </a:lnSpc>
        <a:spcBef>
          <a:spcPts val="5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30400" algn="l" defTabSz="914333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image" Target="../media/image124.jpeg"/><Relationship Id="rId3" Type="http://schemas.openxmlformats.org/officeDocument/2006/relationships/tags" Target="../tags/tag70.xml"/><Relationship Id="rId21" Type="http://schemas.openxmlformats.org/officeDocument/2006/relationships/image" Target="../media/image127.png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image" Target="../media/image123.jpeg"/><Relationship Id="rId2" Type="http://schemas.openxmlformats.org/officeDocument/2006/relationships/tags" Target="../tags/tag69.xml"/><Relationship Id="rId16" Type="http://schemas.openxmlformats.org/officeDocument/2006/relationships/image" Target="../media/image122.jpeg"/><Relationship Id="rId20" Type="http://schemas.openxmlformats.org/officeDocument/2006/relationships/image" Target="../media/image126.jpeg"/><Relationship Id="rId1" Type="http://schemas.openxmlformats.org/officeDocument/2006/relationships/themeOverride" Target="../theme/themeOverride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image" Target="../media/image130.jpeg"/><Relationship Id="rId5" Type="http://schemas.openxmlformats.org/officeDocument/2006/relationships/tags" Target="../tags/tag72.xml"/><Relationship Id="rId15" Type="http://schemas.openxmlformats.org/officeDocument/2006/relationships/slideLayout" Target="../slideLayouts/slideLayout19.xml"/><Relationship Id="rId23" Type="http://schemas.openxmlformats.org/officeDocument/2006/relationships/image" Target="../media/image129.jpeg"/><Relationship Id="rId10" Type="http://schemas.openxmlformats.org/officeDocument/2006/relationships/tags" Target="../tags/tag77.xml"/><Relationship Id="rId19" Type="http://schemas.openxmlformats.org/officeDocument/2006/relationships/image" Target="../media/image125.jpeg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image" Target="../media/image1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7.png"/><Relationship Id="rId26" Type="http://schemas.microsoft.com/office/2007/relationships/hdphoto" Target="../media/hdphoto4.wdp"/><Relationship Id="rId3" Type="http://schemas.openxmlformats.org/officeDocument/2006/relationships/image" Target="../media/image14.gif"/><Relationship Id="rId21" Type="http://schemas.openxmlformats.org/officeDocument/2006/relationships/image" Target="../media/image30.png"/><Relationship Id="rId7" Type="http://schemas.openxmlformats.org/officeDocument/2006/relationships/image" Target="../media/image18.png"/><Relationship Id="rId12" Type="http://schemas.microsoft.com/office/2007/relationships/hdphoto" Target="../media/hdphoto1.wdp"/><Relationship Id="rId17" Type="http://schemas.openxmlformats.org/officeDocument/2006/relationships/image" Target="../media/image26.png"/><Relationship Id="rId25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24" Type="http://schemas.openxmlformats.org/officeDocument/2006/relationships/image" Target="../media/image32.png"/><Relationship Id="rId5" Type="http://schemas.openxmlformats.org/officeDocument/2006/relationships/image" Target="../media/image16.png"/><Relationship Id="rId15" Type="http://schemas.microsoft.com/office/2007/relationships/hdphoto" Target="../media/hdphoto2.wdp"/><Relationship Id="rId23" Type="http://schemas.openxmlformats.org/officeDocument/2006/relationships/image" Target="../media/image31.png"/><Relationship Id="rId10" Type="http://schemas.openxmlformats.org/officeDocument/2006/relationships/image" Target="../media/image21.png"/><Relationship Id="rId19" Type="http://schemas.openxmlformats.org/officeDocument/2006/relationships/image" Target="../media/image28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tags" Target="../tags/tag3.xml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image" Target="../media/image45.png"/><Relationship Id="rId2" Type="http://schemas.openxmlformats.org/officeDocument/2006/relationships/tags" Target="../tags/tag2.xml"/><Relationship Id="rId16" Type="http://schemas.openxmlformats.org/officeDocument/2006/relationships/image" Target="../media/image44.svg"/><Relationship Id="rId20" Type="http://schemas.openxmlformats.org/officeDocument/2006/relationships/image" Target="../media/image48.svg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43.png"/><Relationship Id="rId10" Type="http://schemas.openxmlformats.org/officeDocument/2006/relationships/image" Target="../media/image38.svg"/><Relationship Id="rId19" Type="http://schemas.openxmlformats.org/officeDocument/2006/relationships/image" Target="../media/image47.png"/><Relationship Id="rId4" Type="http://schemas.openxmlformats.org/officeDocument/2006/relationships/tags" Target="../tags/tag4.xml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image" Target="../media/image56.png"/><Relationship Id="rId21" Type="http://schemas.openxmlformats.org/officeDocument/2006/relationships/tags" Target="../tags/tag24.xml"/><Relationship Id="rId34" Type="http://schemas.openxmlformats.org/officeDocument/2006/relationships/image" Target="../media/image51.png"/><Relationship Id="rId42" Type="http://schemas.openxmlformats.org/officeDocument/2006/relationships/image" Target="../media/image59.png"/><Relationship Id="rId47" Type="http://schemas.openxmlformats.org/officeDocument/2006/relationships/image" Target="../media/image64.png"/><Relationship Id="rId50" Type="http://schemas.openxmlformats.org/officeDocument/2006/relationships/image" Target="../media/image67.sv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image" Target="../media/image49.png"/><Relationship Id="rId37" Type="http://schemas.openxmlformats.org/officeDocument/2006/relationships/image" Target="../media/image54.png"/><Relationship Id="rId40" Type="http://schemas.openxmlformats.org/officeDocument/2006/relationships/image" Target="../media/image57.png"/><Relationship Id="rId45" Type="http://schemas.openxmlformats.org/officeDocument/2006/relationships/image" Target="../media/image62.png"/><Relationship Id="rId53" Type="http://schemas.openxmlformats.org/officeDocument/2006/relationships/image" Target="../media/image70.png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slideLayout" Target="../slideLayouts/slideLayout19.xml"/><Relationship Id="rId44" Type="http://schemas.openxmlformats.org/officeDocument/2006/relationships/image" Target="../media/image61.png"/><Relationship Id="rId52" Type="http://schemas.openxmlformats.org/officeDocument/2006/relationships/image" Target="../media/image69.sv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image" Target="../media/image52.png"/><Relationship Id="rId43" Type="http://schemas.openxmlformats.org/officeDocument/2006/relationships/image" Target="../media/image60.png"/><Relationship Id="rId48" Type="http://schemas.openxmlformats.org/officeDocument/2006/relationships/image" Target="../media/image65.png"/><Relationship Id="rId8" Type="http://schemas.openxmlformats.org/officeDocument/2006/relationships/tags" Target="../tags/tag11.xml"/><Relationship Id="rId51" Type="http://schemas.openxmlformats.org/officeDocument/2006/relationships/image" Target="../media/image68.png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50.png"/><Relationship Id="rId38" Type="http://schemas.openxmlformats.org/officeDocument/2006/relationships/image" Target="../media/image55.png"/><Relationship Id="rId46" Type="http://schemas.openxmlformats.org/officeDocument/2006/relationships/image" Target="../media/image63.png"/><Relationship Id="rId20" Type="http://schemas.openxmlformats.org/officeDocument/2006/relationships/tags" Target="../tags/tag23.xml"/><Relationship Id="rId41" Type="http://schemas.openxmlformats.org/officeDocument/2006/relationships/image" Target="../media/image58.png"/><Relationship Id="rId54" Type="http://schemas.openxmlformats.org/officeDocument/2006/relationships/image" Target="../media/image71.svg"/><Relationship Id="rId1" Type="http://schemas.openxmlformats.org/officeDocument/2006/relationships/themeOverride" Target="../theme/themeOverride3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image" Target="../media/image53.png"/><Relationship Id="rId49" Type="http://schemas.openxmlformats.org/officeDocument/2006/relationships/image" Target="../media/image66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image" Target="../media/image78.png"/><Relationship Id="rId39" Type="http://schemas.openxmlformats.org/officeDocument/2006/relationships/image" Target="../media/image91.svg"/><Relationship Id="rId21" Type="http://schemas.openxmlformats.org/officeDocument/2006/relationships/image" Target="../media/image73.svg"/><Relationship Id="rId34" Type="http://schemas.openxmlformats.org/officeDocument/2006/relationships/image" Target="../media/image86.png"/><Relationship Id="rId42" Type="http://schemas.openxmlformats.org/officeDocument/2006/relationships/image" Target="../media/image94.png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9" Type="http://schemas.openxmlformats.org/officeDocument/2006/relationships/image" Target="../media/image81.svg"/><Relationship Id="rId1" Type="http://schemas.openxmlformats.org/officeDocument/2006/relationships/themeOverride" Target="../theme/themeOverride4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image" Target="../media/image76.png"/><Relationship Id="rId32" Type="http://schemas.openxmlformats.org/officeDocument/2006/relationships/image" Target="../media/image84.png"/><Relationship Id="rId37" Type="http://schemas.openxmlformats.org/officeDocument/2006/relationships/image" Target="../media/image89.svg"/><Relationship Id="rId40" Type="http://schemas.openxmlformats.org/officeDocument/2006/relationships/image" Target="../media/image92.png"/><Relationship Id="rId45" Type="http://schemas.openxmlformats.org/officeDocument/2006/relationships/image" Target="../media/image97.svg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image" Target="../media/image75.svg"/><Relationship Id="rId28" Type="http://schemas.openxmlformats.org/officeDocument/2006/relationships/image" Target="../media/image80.png"/><Relationship Id="rId36" Type="http://schemas.openxmlformats.org/officeDocument/2006/relationships/image" Target="../media/image88.png"/><Relationship Id="rId10" Type="http://schemas.openxmlformats.org/officeDocument/2006/relationships/tags" Target="../tags/tag42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83.svg"/><Relationship Id="rId44" Type="http://schemas.openxmlformats.org/officeDocument/2006/relationships/image" Target="../media/image96.png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image" Target="../media/image74.png"/><Relationship Id="rId27" Type="http://schemas.openxmlformats.org/officeDocument/2006/relationships/image" Target="../media/image79.svg"/><Relationship Id="rId30" Type="http://schemas.openxmlformats.org/officeDocument/2006/relationships/image" Target="../media/image82.png"/><Relationship Id="rId35" Type="http://schemas.openxmlformats.org/officeDocument/2006/relationships/image" Target="../media/image87.svg"/><Relationship Id="rId43" Type="http://schemas.openxmlformats.org/officeDocument/2006/relationships/image" Target="../media/image95.svg"/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image" Target="../media/image77.svg"/><Relationship Id="rId33" Type="http://schemas.openxmlformats.org/officeDocument/2006/relationships/image" Target="../media/image85.svg"/><Relationship Id="rId38" Type="http://schemas.openxmlformats.org/officeDocument/2006/relationships/image" Target="../media/image90.png"/><Relationship Id="rId46" Type="http://schemas.openxmlformats.org/officeDocument/2006/relationships/image" Target="../media/image98.png"/><Relationship Id="rId20" Type="http://schemas.openxmlformats.org/officeDocument/2006/relationships/image" Target="../media/image72.png"/><Relationship Id="rId41" Type="http://schemas.openxmlformats.org/officeDocument/2006/relationships/image" Target="../media/image9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19.xml"/><Relationship Id="rId18" Type="http://schemas.openxmlformats.org/officeDocument/2006/relationships/image" Target="../media/image103.jpeg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image" Target="../media/image102.png"/><Relationship Id="rId2" Type="http://schemas.openxmlformats.org/officeDocument/2006/relationships/tags" Target="../tags/tag51.xml"/><Relationship Id="rId16" Type="http://schemas.openxmlformats.org/officeDocument/2006/relationships/image" Target="../media/image101.png"/><Relationship Id="rId1" Type="http://schemas.openxmlformats.org/officeDocument/2006/relationships/themeOverride" Target="../theme/themeOverride5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100.png"/><Relationship Id="rId10" Type="http://schemas.openxmlformats.org/officeDocument/2006/relationships/tags" Target="../tags/tag59.xml"/><Relationship Id="rId19" Type="http://schemas.openxmlformats.org/officeDocument/2006/relationships/image" Target="../media/image104.jpeg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9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2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10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10.png"/><Relationship Id="rId18" Type="http://schemas.openxmlformats.org/officeDocument/2006/relationships/image" Target="../media/image115.svg"/><Relationship Id="rId3" Type="http://schemas.openxmlformats.org/officeDocument/2006/relationships/tags" Target="../tags/tag64.xml"/><Relationship Id="rId21" Type="http://schemas.openxmlformats.org/officeDocument/2006/relationships/image" Target="../media/image118.png"/><Relationship Id="rId7" Type="http://schemas.openxmlformats.org/officeDocument/2006/relationships/tags" Target="../tags/tag68.xml"/><Relationship Id="rId12" Type="http://schemas.openxmlformats.org/officeDocument/2006/relationships/image" Target="../media/image109.svg"/><Relationship Id="rId17" Type="http://schemas.openxmlformats.org/officeDocument/2006/relationships/image" Target="../media/image114.png"/><Relationship Id="rId2" Type="http://schemas.openxmlformats.org/officeDocument/2006/relationships/tags" Target="../tags/tag63.xml"/><Relationship Id="rId16" Type="http://schemas.openxmlformats.org/officeDocument/2006/relationships/image" Target="../media/image113.svg"/><Relationship Id="rId20" Type="http://schemas.openxmlformats.org/officeDocument/2006/relationships/image" Target="../media/image117.svg"/><Relationship Id="rId1" Type="http://schemas.openxmlformats.org/officeDocument/2006/relationships/themeOverride" Target="../theme/themeOverride7.xml"/><Relationship Id="rId6" Type="http://schemas.openxmlformats.org/officeDocument/2006/relationships/tags" Target="../tags/tag67.xml"/><Relationship Id="rId11" Type="http://schemas.openxmlformats.org/officeDocument/2006/relationships/image" Target="../media/image108.png"/><Relationship Id="rId24" Type="http://schemas.openxmlformats.org/officeDocument/2006/relationships/image" Target="../media/image121.png"/><Relationship Id="rId5" Type="http://schemas.openxmlformats.org/officeDocument/2006/relationships/tags" Target="../tags/tag66.xml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10" Type="http://schemas.openxmlformats.org/officeDocument/2006/relationships/image" Target="../media/image107.svg"/><Relationship Id="rId19" Type="http://schemas.openxmlformats.org/officeDocument/2006/relationships/image" Target="../media/image116.png"/><Relationship Id="rId4" Type="http://schemas.openxmlformats.org/officeDocument/2006/relationships/tags" Target="../tags/tag65.xml"/><Relationship Id="rId9" Type="http://schemas.openxmlformats.org/officeDocument/2006/relationships/image" Target="../media/image106.png"/><Relationship Id="rId14" Type="http://schemas.openxmlformats.org/officeDocument/2006/relationships/image" Target="../media/image111.svg"/><Relationship Id="rId22" Type="http://schemas.openxmlformats.org/officeDocument/2006/relationships/image" Target="../media/image1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15E15B57-AEBC-F708-6ACF-6A0ECAEE05CC}"/>
              </a:ext>
            </a:extLst>
          </p:cNvPr>
          <p:cNvPicPr>
            <a:picLocks noGrp="1" noChangeAspect="1"/>
          </p:cNvPicPr>
          <p:nvPr>
            <p:ph type="pic"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" r="320"/>
          <a:stretch/>
        </p:blipFill>
        <p:spPr/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29FAB1A-853A-F200-FD9B-B3FA51C36C41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773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C7012694-9D9F-A149-247E-8F9921410FA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957160" y="30405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de-DE"/>
            </a:defPPr>
            <a:lvl1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ethano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FAD3C01-A3E5-21E6-EDB9-4E6732861C8A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1044" y="4341289"/>
            <a:ext cx="1890000" cy="126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F7303E1-DA2C-11AB-81CC-AF22CCF001A1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1044" y="2999424"/>
            <a:ext cx="1890000" cy="126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89CAB11-FBCB-E626-34D0-CC9FB507D950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03450" y="1659643"/>
            <a:ext cx="1451306" cy="126184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6429E0B-ABBD-6C77-16C4-DCC054AD6969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911" y="3001506"/>
            <a:ext cx="1888845" cy="1260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8FA5902-4619-BB01-482F-717BCE1BED9B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141" y="321472"/>
            <a:ext cx="1889615" cy="126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23374E3-B6D4-4497-9C27-30837A67DACB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3330" y="1425600"/>
            <a:ext cx="3853208" cy="370960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5AF77AA-1FF7-CC38-83F1-56879023EDD1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1044" y="321471"/>
            <a:ext cx="1890000" cy="1260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903A6BA-F42F-5358-3720-781DFEC93E8A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1044" y="1663335"/>
            <a:ext cx="2332400" cy="126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E3B756E-F032-4B5D-C5B7-37D8DD541D0A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4756" y="4341523"/>
            <a:ext cx="1890000" cy="12600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3571A4A-8CD2-8348-27BA-8C9946504E9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24357" y="1619475"/>
            <a:ext cx="1734288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PtX application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5678822-54C0-C9A2-8754-1B8693E242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38378" y="1271951"/>
            <a:ext cx="1734288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V &amp; off-highway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9586D3-DB0C-C14E-B1E0-09B500D933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20358" y="3594347"/>
            <a:ext cx="1435821" cy="3072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intralogistic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8DBFC6F-40BE-518D-0F0C-9514D5D6578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13594" y="4870277"/>
            <a:ext cx="1818193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gricultur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5E3B02-E850-8683-90C9-A9C636623A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640478" y="4535672"/>
            <a:ext cx="1818193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pharma industry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FD775D5-4763-CCB2-EB86-6ACD14BEEA4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00722" y="4058262"/>
            <a:ext cx="1818193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food &amp; beverag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40FE714-639D-E946-39AA-25DBA288C3D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87159" y="3280403"/>
            <a:ext cx="1165681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ker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shippin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495C5C2-6E13-B744-2AD2-2CA2812C198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5200" y="2330063"/>
            <a:ext cx="1734288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hemical industry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2D7BADD-B378-3718-32F5-E4E5649B5CE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260043" y="2653023"/>
            <a:ext cx="1165681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gensets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5911D4-26E6-6A28-7FEC-DC46D41A967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296503" y="5114573"/>
            <a:ext cx="755111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railway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5E5A3F-EAC2-2931-15A1-C5766A90E82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40478" y="1820162"/>
            <a:ext cx="1165681" cy="307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kern="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anufactur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54A023-49D8-447D-7252-B291B54BEC2F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/>
              <a:t>Bosch compact gas compresso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220F78D-3DAC-5B54-09DE-47756CE05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dustry applications</a:t>
            </a:r>
          </a:p>
        </p:txBody>
      </p:sp>
    </p:spTree>
    <p:extLst>
      <p:ext uri="{BB962C8B-B14F-4D97-AF65-F5344CB8AC3E}">
        <p14:creationId xmlns:p14="http://schemas.microsoft.com/office/powerpoint/2010/main" val="27080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5BD9607-AFD2-CE95-2B04-F1B61905BC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osch Office Sans"/>
                <a:ea typeface="+mj-ea"/>
                <a:cs typeface="+mj-cs"/>
              </a:rPr>
              <a:t>Bosch compact gas compressor</a:t>
            </a:r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10344DA-8D38-FE94-54DE-F42ECCE0C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pecifications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517FAA49-DC57-8EAE-8718-019DBAFB9DC2}"/>
              </a:ext>
            </a:extLst>
          </p:cNvPr>
          <p:cNvGraphicFramePr>
            <a:graphicFrameLocks noGrp="1"/>
          </p:cNvGraphicFramePr>
          <p:nvPr/>
        </p:nvGraphicFramePr>
        <p:xfrm>
          <a:off x="397932" y="1234234"/>
          <a:ext cx="10093856" cy="413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3464">
                  <a:extLst>
                    <a:ext uri="{9D8B030D-6E8A-4147-A177-3AD203B41FA5}">
                      <a16:colId xmlns:a16="http://schemas.microsoft.com/office/drawing/2014/main" val="3943025301"/>
                    </a:ext>
                  </a:extLst>
                </a:gridCol>
                <a:gridCol w="1112219">
                  <a:extLst>
                    <a:ext uri="{9D8B030D-6E8A-4147-A177-3AD203B41FA5}">
                      <a16:colId xmlns:a16="http://schemas.microsoft.com/office/drawing/2014/main" val="2840747688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353651860"/>
                    </a:ext>
                  </a:extLst>
                </a:gridCol>
                <a:gridCol w="4424274">
                  <a:extLst>
                    <a:ext uri="{9D8B030D-6E8A-4147-A177-3AD203B41FA5}">
                      <a16:colId xmlns:a16="http://schemas.microsoft.com/office/drawing/2014/main" val="1591772517"/>
                    </a:ext>
                  </a:extLst>
                </a:gridCol>
              </a:tblGrid>
              <a:tr h="234793">
                <a:tc>
                  <a:txBody>
                    <a:bodyPr/>
                    <a:lstStyle/>
                    <a:p>
                      <a:r>
                        <a:rPr lang="de-DE" sz="1100"/>
                        <a:t>Compact Gas Compres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/>
                        <a:t>„V-module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com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654002"/>
                  </a:ext>
                </a:extLst>
              </a:tr>
              <a:tr h="469586">
                <a:tc>
                  <a:txBody>
                    <a:bodyPr/>
                    <a:lstStyle/>
                    <a:p>
                      <a:r>
                        <a:rPr lang="de-DE" sz="1400" dirty="0"/>
                        <a:t>Delivery rate for hydro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Nm³/h</a:t>
                      </a:r>
                    </a:p>
                    <a:p>
                      <a:pPr algn="ctr"/>
                      <a:r>
                        <a:rPr lang="de-DE" sz="1400"/>
                        <a:t>kg/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≥11</a:t>
                      </a:r>
                    </a:p>
                    <a:p>
                      <a:pPr algn="ctr"/>
                      <a:r>
                        <a:rPr lang="de-DE" sz="1400" dirty="0"/>
                        <a:t>≥1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ctr" defTabSz="9142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noProof="0" dirty="0"/>
                        <a:t>variable compressor speeds allow variable delivery rates up to ≥11Nm³/h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1053590847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Gas p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H2 5.0     (&gt;99,999%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endParaRPr lang="en-AU" sz="1400" noProof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63475666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k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&lt;12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endParaRPr lang="en-AU" sz="1400" noProof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471435954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20 x 420 x 200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endParaRPr lang="en-AU" sz="1400" noProof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791916879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 dirty="0"/>
                        <a:t>Inlet pres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b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5…35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r>
                        <a:rPr lang="en-AU" sz="1400" noProof="0" dirty="0"/>
                        <a:t>further development w/ target inlet pressure </a:t>
                      </a:r>
                      <a:r>
                        <a:rPr lang="de-DE" sz="1400" dirty="0"/>
                        <a:t>≥</a:t>
                      </a:r>
                      <a:r>
                        <a:rPr lang="en-AU" sz="1400" noProof="0" dirty="0"/>
                        <a:t>5bar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4291695058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St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endParaRPr lang="en-AU" sz="1400" noProof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491752293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 dirty="0"/>
                        <a:t>Max. discharge pres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b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00+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r>
                        <a:rPr lang="en-AU" sz="1400" noProof="0" dirty="0"/>
                        <a:t>depending on inlet pressure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1321824793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Gas inlet 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°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…45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r>
                        <a:rPr lang="en-AU" sz="1400" noProof="0"/>
                        <a:t>Option for 60Hz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5754658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Ambient 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°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-40…60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r>
                        <a:rPr lang="en-AU" sz="1400" noProof="0"/>
                        <a:t>operation allowed, target: &gt; -30°C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1560226680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Coo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ctr" defTabSz="9142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noProof="0" dirty="0"/>
                        <a:t>active oil- and air- or water cooling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40223734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Spe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r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400…800 (1000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1pPr>
                      <a:lvl2pPr marL="457132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2pPr>
                      <a:lvl3pPr marL="914266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3pPr>
                      <a:lvl4pPr marL="1371398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4pPr>
                      <a:lvl5pPr marL="18285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5pPr>
                      <a:lvl6pPr marL="22856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6pPr>
                      <a:lvl7pPr marL="2742797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7pPr>
                      <a:lvl8pPr marL="3199930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8pPr>
                      <a:lvl9pPr marL="3657064" algn="l" defTabSz="91426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Bosch Office Sans"/>
                        </a:defRPr>
                      </a:lvl9pPr>
                    </a:lstStyle>
                    <a:p>
                      <a:pPr algn="ctr"/>
                      <a:endParaRPr lang="en-AU" sz="1400" noProof="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471748046"/>
                  </a:ext>
                </a:extLst>
              </a:tr>
              <a:tr h="276227">
                <a:tc>
                  <a:txBody>
                    <a:bodyPr/>
                    <a:lstStyle/>
                    <a:p>
                      <a:r>
                        <a:rPr lang="de-DE" sz="1400"/>
                        <a:t>Electric pow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k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&lt;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755746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0830B79A-A9DC-4769-D514-476B3BA4FC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212" y="305361"/>
            <a:ext cx="1292637" cy="880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D15A8F3F-584E-9976-2BEB-43BD4DA28BD4}"/>
              </a:ext>
            </a:extLst>
          </p:cNvPr>
          <p:cNvSpPr/>
          <p:nvPr/>
        </p:nvSpPr>
        <p:spPr>
          <a:xfrm>
            <a:off x="2001068" y="5487469"/>
            <a:ext cx="7576484" cy="2892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kern="0">
                <a:solidFill>
                  <a:schemeClr val="bg2">
                    <a:lumMod val="75000"/>
                  </a:schemeClr>
                </a:solidFill>
                <a:latin typeface="Bosch Office Sans"/>
              </a:rPr>
              <a:t>Bosch is currently in the development phase for </a:t>
            </a: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the compact gas compressor. All technical specifications and milestones given in this informational document are development objectives.</a:t>
            </a:r>
          </a:p>
        </p:txBody>
      </p:sp>
    </p:spTree>
    <p:extLst>
      <p:ext uri="{BB962C8B-B14F-4D97-AF65-F5344CB8AC3E}">
        <p14:creationId xmlns:p14="http://schemas.microsoft.com/office/powerpoint/2010/main" val="2279936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BOSCH">
            <a:extLst>
              <a:ext uri="{FF2B5EF4-FFF2-40B4-BE49-F238E27FC236}">
                <a16:creationId xmlns:a16="http://schemas.microsoft.com/office/drawing/2014/main" id="{EC2E4C83-6A82-8100-9BE9-EBD9D816B859}"/>
              </a:ext>
            </a:extLst>
          </p:cNvPr>
          <p:cNvGrpSpPr/>
          <p:nvPr/>
        </p:nvGrpSpPr>
        <p:grpSpPr>
          <a:xfrm>
            <a:off x="5198240" y="2690949"/>
            <a:ext cx="545388" cy="545388"/>
            <a:chOff x="4909187" y="2477400"/>
            <a:chExt cx="2061441" cy="2061441"/>
          </a:xfrm>
          <a:solidFill>
            <a:schemeClr val="bg1"/>
          </a:solidFill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FCEB59D4-E94D-0931-323F-21346ECDA7E5}"/>
                </a:ext>
              </a:extLst>
            </p:cNvPr>
            <p:cNvSpPr/>
            <p:nvPr/>
          </p:nvSpPr>
          <p:spPr>
            <a:xfrm>
              <a:off x="4909187" y="2477400"/>
              <a:ext cx="2061441" cy="2061441"/>
            </a:xfrm>
            <a:custGeom>
              <a:avLst/>
              <a:gdLst>
                <a:gd name="connsiteX0" fmla="*/ 1030721 w 2061441"/>
                <a:gd name="connsiteY0" fmla="*/ 0 h 2061441"/>
                <a:gd name="connsiteX1" fmla="*/ 0 w 2061441"/>
                <a:gd name="connsiteY1" fmla="*/ 1030721 h 2061441"/>
                <a:gd name="connsiteX2" fmla="*/ 1030721 w 2061441"/>
                <a:gd name="connsiteY2" fmla="*/ 2061442 h 2061441"/>
                <a:gd name="connsiteX3" fmla="*/ 2061442 w 2061441"/>
                <a:gd name="connsiteY3" fmla="*/ 1030721 h 2061441"/>
                <a:gd name="connsiteX4" fmla="*/ 1030721 w 2061441"/>
                <a:gd name="connsiteY4" fmla="*/ 0 h 2061441"/>
                <a:gd name="connsiteX5" fmla="*/ 1030721 w 2061441"/>
                <a:gd name="connsiteY5" fmla="*/ 1965213 h 2061441"/>
                <a:gd name="connsiteX6" fmla="*/ 96229 w 2061441"/>
                <a:gd name="connsiteY6" fmla="*/ 1030721 h 2061441"/>
                <a:gd name="connsiteX7" fmla="*/ 1030721 w 2061441"/>
                <a:gd name="connsiteY7" fmla="*/ 96229 h 2061441"/>
                <a:gd name="connsiteX8" fmla="*/ 1965213 w 2061441"/>
                <a:gd name="connsiteY8" fmla="*/ 1030721 h 2061441"/>
                <a:gd name="connsiteX9" fmla="*/ 1030721 w 2061441"/>
                <a:gd name="connsiteY9" fmla="*/ 1965213 h 206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1441" h="2061441">
                  <a:moveTo>
                    <a:pt x="1030721" y="0"/>
                  </a:moveTo>
                  <a:cubicBezTo>
                    <a:pt x="461900" y="0"/>
                    <a:pt x="0" y="461900"/>
                    <a:pt x="0" y="1030721"/>
                  </a:cubicBezTo>
                  <a:cubicBezTo>
                    <a:pt x="0" y="1599542"/>
                    <a:pt x="461900" y="2061442"/>
                    <a:pt x="1030721" y="2061442"/>
                  </a:cubicBezTo>
                  <a:cubicBezTo>
                    <a:pt x="1599542" y="2061442"/>
                    <a:pt x="2061442" y="1599542"/>
                    <a:pt x="2061442" y="1030721"/>
                  </a:cubicBezTo>
                  <a:cubicBezTo>
                    <a:pt x="2061442" y="461900"/>
                    <a:pt x="1599542" y="0"/>
                    <a:pt x="1030721" y="0"/>
                  </a:cubicBezTo>
                  <a:close/>
                  <a:moveTo>
                    <a:pt x="1030721" y="1965213"/>
                  </a:moveTo>
                  <a:cubicBezTo>
                    <a:pt x="515360" y="1965213"/>
                    <a:pt x="96229" y="1546081"/>
                    <a:pt x="96229" y="1030721"/>
                  </a:cubicBezTo>
                  <a:cubicBezTo>
                    <a:pt x="96229" y="515360"/>
                    <a:pt x="515360" y="96229"/>
                    <a:pt x="1030721" y="96229"/>
                  </a:cubicBezTo>
                  <a:cubicBezTo>
                    <a:pt x="1546082" y="96229"/>
                    <a:pt x="1965213" y="515360"/>
                    <a:pt x="1965213" y="1030721"/>
                  </a:cubicBezTo>
                  <a:cubicBezTo>
                    <a:pt x="1965213" y="1546081"/>
                    <a:pt x="1546082" y="1965213"/>
                    <a:pt x="1030721" y="1965213"/>
                  </a:cubicBezTo>
                  <a:close/>
                </a:path>
              </a:pathLst>
            </a:custGeom>
            <a:solidFill>
              <a:schemeClr val="bg1"/>
            </a:solidFill>
            <a:ln w="213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endParaRPr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9E1EDA3-9CF9-DBF9-C84E-DB968FE8E733}"/>
                </a:ext>
              </a:extLst>
            </p:cNvPr>
            <p:cNvSpPr/>
            <p:nvPr/>
          </p:nvSpPr>
          <p:spPr>
            <a:xfrm>
              <a:off x="5167936" y="2864455"/>
              <a:ext cx="1543942" cy="1287331"/>
            </a:xfrm>
            <a:custGeom>
              <a:avLst/>
              <a:gdLst>
                <a:gd name="connsiteX0" fmla="*/ 1197518 w 1543942"/>
                <a:gd name="connsiteY0" fmla="*/ 0 h 1287331"/>
                <a:gd name="connsiteX1" fmla="*/ 1126950 w 1543942"/>
                <a:gd name="connsiteY1" fmla="*/ 0 h 1287331"/>
                <a:gd name="connsiteX2" fmla="*/ 1126950 w 1543942"/>
                <a:gd name="connsiteY2" fmla="*/ 352840 h 1287331"/>
                <a:gd name="connsiteX3" fmla="*/ 419131 w 1543942"/>
                <a:gd name="connsiteY3" fmla="*/ 352840 h 1287331"/>
                <a:gd name="connsiteX4" fmla="*/ 419131 w 1543942"/>
                <a:gd name="connsiteY4" fmla="*/ 0 h 1287331"/>
                <a:gd name="connsiteX5" fmla="*/ 346425 w 1543942"/>
                <a:gd name="connsiteY5" fmla="*/ 0 h 1287331"/>
                <a:gd name="connsiteX6" fmla="*/ 0 w 1543942"/>
                <a:gd name="connsiteY6" fmla="*/ 643666 h 1287331"/>
                <a:gd name="connsiteX7" fmla="*/ 346425 w 1543942"/>
                <a:gd name="connsiteY7" fmla="*/ 1287332 h 1287331"/>
                <a:gd name="connsiteX8" fmla="*/ 419131 w 1543942"/>
                <a:gd name="connsiteY8" fmla="*/ 1287332 h 1287331"/>
                <a:gd name="connsiteX9" fmla="*/ 419131 w 1543942"/>
                <a:gd name="connsiteY9" fmla="*/ 934492 h 1287331"/>
                <a:gd name="connsiteX10" fmla="*/ 1126950 w 1543942"/>
                <a:gd name="connsiteY10" fmla="*/ 934492 h 1287331"/>
                <a:gd name="connsiteX11" fmla="*/ 1126950 w 1543942"/>
                <a:gd name="connsiteY11" fmla="*/ 1287332 h 1287331"/>
                <a:gd name="connsiteX12" fmla="*/ 1197518 w 1543942"/>
                <a:gd name="connsiteY12" fmla="*/ 1287332 h 1287331"/>
                <a:gd name="connsiteX13" fmla="*/ 1543943 w 1543942"/>
                <a:gd name="connsiteY13" fmla="*/ 643666 h 1287331"/>
                <a:gd name="connsiteX14" fmla="*/ 1197518 w 1543942"/>
                <a:gd name="connsiteY14" fmla="*/ 0 h 1287331"/>
                <a:gd name="connsiteX15" fmla="*/ 320764 w 1543942"/>
                <a:gd name="connsiteY15" fmla="*/ 1148334 h 1287331"/>
                <a:gd name="connsiteX16" fmla="*/ 94091 w 1543942"/>
                <a:gd name="connsiteY16" fmla="*/ 643666 h 1287331"/>
                <a:gd name="connsiteX17" fmla="*/ 320764 w 1543942"/>
                <a:gd name="connsiteY17" fmla="*/ 138998 h 1287331"/>
                <a:gd name="connsiteX18" fmla="*/ 320764 w 1543942"/>
                <a:gd name="connsiteY18" fmla="*/ 1148334 h 1287331"/>
                <a:gd name="connsiteX19" fmla="*/ 1126950 w 1543942"/>
                <a:gd name="connsiteY19" fmla="*/ 836124 h 1287331"/>
                <a:gd name="connsiteX20" fmla="*/ 419131 w 1543942"/>
                <a:gd name="connsiteY20" fmla="*/ 836124 h 1287331"/>
                <a:gd name="connsiteX21" fmla="*/ 419131 w 1543942"/>
                <a:gd name="connsiteY21" fmla="*/ 449069 h 1287331"/>
                <a:gd name="connsiteX22" fmla="*/ 1126950 w 1543942"/>
                <a:gd name="connsiteY22" fmla="*/ 449069 h 1287331"/>
                <a:gd name="connsiteX23" fmla="*/ 1126950 w 1543942"/>
                <a:gd name="connsiteY23" fmla="*/ 836124 h 1287331"/>
                <a:gd name="connsiteX24" fmla="*/ 1223179 w 1543942"/>
                <a:gd name="connsiteY24" fmla="*/ 1146196 h 1287331"/>
                <a:gd name="connsiteX25" fmla="*/ 1223179 w 1543942"/>
                <a:gd name="connsiteY25" fmla="*/ 932353 h 1287331"/>
                <a:gd name="connsiteX26" fmla="*/ 1223179 w 1543942"/>
                <a:gd name="connsiteY26" fmla="*/ 932353 h 1287331"/>
                <a:gd name="connsiteX27" fmla="*/ 1223179 w 1543942"/>
                <a:gd name="connsiteY27" fmla="*/ 352840 h 1287331"/>
                <a:gd name="connsiteX28" fmla="*/ 1223179 w 1543942"/>
                <a:gd name="connsiteY28" fmla="*/ 352840 h 1287331"/>
                <a:gd name="connsiteX29" fmla="*/ 1223179 w 1543942"/>
                <a:gd name="connsiteY29" fmla="*/ 138998 h 1287331"/>
                <a:gd name="connsiteX30" fmla="*/ 1447714 w 1543942"/>
                <a:gd name="connsiteY30" fmla="*/ 641528 h 1287331"/>
                <a:gd name="connsiteX31" fmla="*/ 1223179 w 1543942"/>
                <a:gd name="connsiteY31" fmla="*/ 1146196 h 1287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43942" h="1287331">
                  <a:moveTo>
                    <a:pt x="1197518" y="0"/>
                  </a:moveTo>
                  <a:lnTo>
                    <a:pt x="1126950" y="0"/>
                  </a:lnTo>
                  <a:lnTo>
                    <a:pt x="1126950" y="352840"/>
                  </a:lnTo>
                  <a:lnTo>
                    <a:pt x="419131" y="352840"/>
                  </a:lnTo>
                  <a:lnTo>
                    <a:pt x="419131" y="0"/>
                  </a:lnTo>
                  <a:lnTo>
                    <a:pt x="346425" y="0"/>
                  </a:lnTo>
                  <a:cubicBezTo>
                    <a:pt x="138998" y="138998"/>
                    <a:pt x="0" y="374224"/>
                    <a:pt x="0" y="643666"/>
                  </a:cubicBezTo>
                  <a:cubicBezTo>
                    <a:pt x="0" y="913108"/>
                    <a:pt x="138998" y="1148334"/>
                    <a:pt x="346425" y="1287332"/>
                  </a:cubicBezTo>
                  <a:lnTo>
                    <a:pt x="419131" y="1287332"/>
                  </a:lnTo>
                  <a:lnTo>
                    <a:pt x="419131" y="934492"/>
                  </a:lnTo>
                  <a:lnTo>
                    <a:pt x="1126950" y="934492"/>
                  </a:lnTo>
                  <a:lnTo>
                    <a:pt x="1126950" y="1287332"/>
                  </a:lnTo>
                  <a:lnTo>
                    <a:pt x="1197518" y="1287332"/>
                  </a:lnTo>
                  <a:cubicBezTo>
                    <a:pt x="1407084" y="1148334"/>
                    <a:pt x="1543943" y="913108"/>
                    <a:pt x="1543943" y="643666"/>
                  </a:cubicBezTo>
                  <a:cubicBezTo>
                    <a:pt x="1543943" y="374224"/>
                    <a:pt x="1407084" y="138998"/>
                    <a:pt x="1197518" y="0"/>
                  </a:cubicBezTo>
                  <a:close/>
                  <a:moveTo>
                    <a:pt x="320764" y="1148334"/>
                  </a:moveTo>
                  <a:cubicBezTo>
                    <a:pt x="177489" y="1022167"/>
                    <a:pt x="94091" y="840401"/>
                    <a:pt x="94091" y="643666"/>
                  </a:cubicBezTo>
                  <a:cubicBezTo>
                    <a:pt x="94091" y="446931"/>
                    <a:pt x="177489" y="265165"/>
                    <a:pt x="320764" y="138998"/>
                  </a:cubicBezTo>
                  <a:lnTo>
                    <a:pt x="320764" y="1148334"/>
                  </a:lnTo>
                  <a:close/>
                  <a:moveTo>
                    <a:pt x="1126950" y="836124"/>
                  </a:moveTo>
                  <a:lnTo>
                    <a:pt x="419131" y="836124"/>
                  </a:lnTo>
                  <a:lnTo>
                    <a:pt x="419131" y="449069"/>
                  </a:lnTo>
                  <a:lnTo>
                    <a:pt x="1126950" y="449069"/>
                  </a:lnTo>
                  <a:cubicBezTo>
                    <a:pt x="1126950" y="451208"/>
                    <a:pt x="1126950" y="836124"/>
                    <a:pt x="1126950" y="836124"/>
                  </a:cubicBezTo>
                  <a:close/>
                  <a:moveTo>
                    <a:pt x="1223179" y="1146196"/>
                  </a:moveTo>
                  <a:lnTo>
                    <a:pt x="1223179" y="932353"/>
                  </a:lnTo>
                  <a:lnTo>
                    <a:pt x="1223179" y="932353"/>
                  </a:lnTo>
                  <a:lnTo>
                    <a:pt x="1223179" y="352840"/>
                  </a:lnTo>
                  <a:lnTo>
                    <a:pt x="1223179" y="352840"/>
                  </a:lnTo>
                  <a:lnTo>
                    <a:pt x="1223179" y="138998"/>
                  </a:lnTo>
                  <a:cubicBezTo>
                    <a:pt x="1364315" y="265165"/>
                    <a:pt x="1447714" y="446931"/>
                    <a:pt x="1447714" y="641528"/>
                  </a:cubicBezTo>
                  <a:cubicBezTo>
                    <a:pt x="1447714" y="838263"/>
                    <a:pt x="1364315" y="1020029"/>
                    <a:pt x="1223179" y="1146196"/>
                  </a:cubicBezTo>
                  <a:close/>
                </a:path>
              </a:pathLst>
            </a:custGeom>
            <a:solidFill>
              <a:schemeClr val="bg1"/>
            </a:solidFill>
            <a:ln w="213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endParaRPr>
            </a:p>
          </p:txBody>
        </p:sp>
      </p:grpSp>
      <p:pic>
        <p:nvPicPr>
          <p:cNvPr id="33" name="Picture 4" descr="Nibin sitzt an seinem Schreibtisch und schaut auf seinen Computer">
            <a:extLst>
              <a:ext uri="{FF2B5EF4-FFF2-40B4-BE49-F238E27FC236}">
                <a16:creationId xmlns:a16="http://schemas.microsoft.com/office/drawing/2014/main" id="{45961A49-3914-F9A6-EB9D-993055682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948" y="3061653"/>
            <a:ext cx="45730" cy="4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4F1669E-269F-35ED-03B9-0BA4DF81D04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74"/>
          <a:stretch/>
        </p:blipFill>
        <p:spPr>
          <a:xfrm>
            <a:off x="-5279540" y="3117195"/>
            <a:ext cx="12444761" cy="1345992"/>
          </a:xfrm>
          <a:custGeom>
            <a:avLst/>
            <a:gdLst>
              <a:gd name="connsiteX0" fmla="*/ 0 w 10969684"/>
              <a:gd name="connsiteY0" fmla="*/ 0 h 650337"/>
              <a:gd name="connsiteX1" fmla="*/ 10969684 w 10969684"/>
              <a:gd name="connsiteY1" fmla="*/ 0 h 650337"/>
              <a:gd name="connsiteX2" fmla="*/ 10969684 w 10969684"/>
              <a:gd name="connsiteY2" fmla="*/ 650337 h 650337"/>
              <a:gd name="connsiteX3" fmla="*/ 0 w 10969684"/>
              <a:gd name="connsiteY3" fmla="*/ 650337 h 65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69684" h="650337">
                <a:moveTo>
                  <a:pt x="0" y="0"/>
                </a:moveTo>
                <a:lnTo>
                  <a:pt x="10969684" y="0"/>
                </a:lnTo>
                <a:lnTo>
                  <a:pt x="10969684" y="650337"/>
                </a:lnTo>
                <a:lnTo>
                  <a:pt x="0" y="650337"/>
                </a:lnTo>
                <a:close/>
              </a:path>
            </a:pathLst>
          </a:cu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68B5268-0F72-A1D1-3276-877BDE2AA7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0"/>
          <a:stretch/>
        </p:blipFill>
        <p:spPr>
          <a:xfrm>
            <a:off x="7165221" y="3045737"/>
            <a:ext cx="12444761" cy="1475380"/>
          </a:xfrm>
          <a:custGeom>
            <a:avLst/>
            <a:gdLst>
              <a:gd name="connsiteX0" fmla="*/ 0 w 10969684"/>
              <a:gd name="connsiteY0" fmla="*/ 0 h 650337"/>
              <a:gd name="connsiteX1" fmla="*/ 10969684 w 10969684"/>
              <a:gd name="connsiteY1" fmla="*/ 0 h 650337"/>
              <a:gd name="connsiteX2" fmla="*/ 10969684 w 10969684"/>
              <a:gd name="connsiteY2" fmla="*/ 650337 h 650337"/>
              <a:gd name="connsiteX3" fmla="*/ 0 w 10969684"/>
              <a:gd name="connsiteY3" fmla="*/ 650337 h 65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69684" h="650337">
                <a:moveTo>
                  <a:pt x="0" y="0"/>
                </a:moveTo>
                <a:lnTo>
                  <a:pt x="10969684" y="0"/>
                </a:lnTo>
                <a:lnTo>
                  <a:pt x="10969684" y="650337"/>
                </a:lnTo>
                <a:lnTo>
                  <a:pt x="0" y="650337"/>
                </a:lnTo>
                <a:close/>
              </a:path>
            </a:pathLst>
          </a:cu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79B3D52E-B32F-2236-F9D4-132365D04886}"/>
              </a:ext>
            </a:extLst>
          </p:cNvPr>
          <p:cNvSpPr/>
          <p:nvPr/>
        </p:nvSpPr>
        <p:spPr>
          <a:xfrm flipH="1">
            <a:off x="-20" y="4463187"/>
            <a:ext cx="10969625" cy="1707426"/>
          </a:xfrm>
          <a:prstGeom prst="rect">
            <a:avLst/>
          </a:prstGeom>
          <a:gradFill>
            <a:gsLst>
              <a:gs pos="0">
                <a:srgbClr val="C6D0D5"/>
              </a:gs>
              <a:gs pos="47000">
                <a:srgbClr val="E1E7E9">
                  <a:lumMod val="88000"/>
                  <a:lumOff val="12000"/>
                </a:srgbClr>
              </a:gs>
              <a:gs pos="100000">
                <a:srgbClr val="E8EDEF"/>
              </a:gs>
            </a:gsLst>
            <a:lin ang="558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3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DE6503A-207D-9569-BBEC-F31DAAA41600}"/>
              </a:ext>
            </a:extLst>
          </p:cNvPr>
          <p:cNvSpPr/>
          <p:nvPr/>
        </p:nvSpPr>
        <p:spPr>
          <a:xfrm>
            <a:off x="-13118" y="4463187"/>
            <a:ext cx="10969625" cy="234228"/>
          </a:xfrm>
          <a:prstGeom prst="rect">
            <a:avLst/>
          </a:prstGeom>
          <a:solidFill>
            <a:schemeClr val="tx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19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E606E9B-9BBE-F939-CA73-1C53F2C06230}"/>
              </a:ext>
            </a:extLst>
          </p:cNvPr>
          <p:cNvSpPr/>
          <p:nvPr/>
        </p:nvSpPr>
        <p:spPr>
          <a:xfrm>
            <a:off x="-13118" y="5075877"/>
            <a:ext cx="10969625" cy="574805"/>
          </a:xfrm>
          <a:prstGeom prst="rect">
            <a:avLst/>
          </a:prstGeom>
          <a:solidFill>
            <a:schemeClr val="tx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19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cxnSp>
        <p:nvCxnSpPr>
          <p:cNvPr id="18" name="Gerader Verbinder 85">
            <a:extLst>
              <a:ext uri="{FF2B5EF4-FFF2-40B4-BE49-F238E27FC236}">
                <a16:creationId xmlns:a16="http://schemas.microsoft.com/office/drawing/2014/main" id="{A358343E-CE5E-B606-9421-FCE5825207C2}"/>
              </a:ext>
            </a:extLst>
          </p:cNvPr>
          <p:cNvCxnSpPr>
            <a:cxnSpLocks/>
          </p:cNvCxnSpPr>
          <p:nvPr/>
        </p:nvCxnSpPr>
        <p:spPr>
          <a:xfrm>
            <a:off x="7246483" y="3528045"/>
            <a:ext cx="0" cy="720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B0CB15F5-6CC9-C898-78F7-0E749AB771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68061" y="5565366"/>
            <a:ext cx="1238400" cy="495359"/>
          </a:xfrm>
          <a:prstGeom prst="rect">
            <a:avLst/>
          </a:prstGeom>
        </p:spPr>
      </p:pic>
      <p:pic>
        <p:nvPicPr>
          <p:cNvPr id="21" name="Grafik 12">
            <a:extLst>
              <a:ext uri="{FF2B5EF4-FFF2-40B4-BE49-F238E27FC236}">
                <a16:creationId xmlns:a16="http://schemas.microsoft.com/office/drawing/2014/main" id="{52E1B38E-0492-F9F0-1398-C37C773E1A4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993"/>
          <a:stretch/>
        </p:blipFill>
        <p:spPr>
          <a:xfrm>
            <a:off x="0" y="6041847"/>
            <a:ext cx="10969625" cy="12826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7444DFD-7DF8-BE83-9239-A900E630193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47" t="5754" r="45685" b="15666"/>
          <a:stretch/>
        </p:blipFill>
        <p:spPr>
          <a:xfrm flipH="1">
            <a:off x="10269139" y="3943257"/>
            <a:ext cx="693911" cy="410545"/>
          </a:xfrm>
          <a:prstGeom prst="rect">
            <a:avLst/>
          </a:prstGeom>
        </p:spPr>
      </p:pic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63810EA-7788-42CB-AA25-62609B22B1F7}"/>
              </a:ext>
            </a:extLst>
          </p:cNvPr>
          <p:cNvCxnSpPr>
            <a:cxnSpLocks/>
          </p:cNvCxnSpPr>
          <p:nvPr/>
        </p:nvCxnSpPr>
        <p:spPr>
          <a:xfrm>
            <a:off x="8468222" y="3723272"/>
            <a:ext cx="0" cy="1318673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F718D9-7C79-37EE-9978-23151B96B935}"/>
              </a:ext>
            </a:extLst>
          </p:cNvPr>
          <p:cNvCxnSpPr>
            <a:cxnSpLocks/>
          </p:cNvCxnSpPr>
          <p:nvPr/>
        </p:nvCxnSpPr>
        <p:spPr>
          <a:xfrm>
            <a:off x="1129520" y="1912481"/>
            <a:ext cx="4119898" cy="0"/>
          </a:xfrm>
          <a:prstGeom prst="line">
            <a:avLst/>
          </a:prstGeom>
          <a:ln w="9525" cap="sq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Ellipse 30">
            <a:extLst>
              <a:ext uri="{FF2B5EF4-FFF2-40B4-BE49-F238E27FC236}">
                <a16:creationId xmlns:a16="http://schemas.microsoft.com/office/drawing/2014/main" id="{BA94C5E1-B812-A143-50A8-8AD4D592D221}"/>
              </a:ext>
            </a:extLst>
          </p:cNvPr>
          <p:cNvSpPr/>
          <p:nvPr/>
        </p:nvSpPr>
        <p:spPr>
          <a:xfrm>
            <a:off x="1038505" y="1866974"/>
            <a:ext cx="91015" cy="91015"/>
          </a:xfrm>
          <a:prstGeom prst="ellipse">
            <a:avLst/>
          </a:prstGeom>
          <a:ln w="9525" cap="sq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E7C3DC38-8E71-AEE7-6315-FA1A5D525A1E}"/>
              </a:ext>
            </a:extLst>
          </p:cNvPr>
          <p:cNvSpPr/>
          <p:nvPr/>
        </p:nvSpPr>
        <p:spPr>
          <a:xfrm>
            <a:off x="5252517" y="1866974"/>
            <a:ext cx="91015" cy="91015"/>
          </a:xfrm>
          <a:prstGeom prst="ellipse">
            <a:avLst/>
          </a:prstGeom>
          <a:ln w="9525" cap="sq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B46D94D-6D8C-FF81-347A-5ED06862529B}"/>
              </a:ext>
            </a:extLst>
          </p:cNvPr>
          <p:cNvCxnSpPr>
            <a:cxnSpLocks/>
          </p:cNvCxnSpPr>
          <p:nvPr/>
        </p:nvCxnSpPr>
        <p:spPr>
          <a:xfrm>
            <a:off x="5343532" y="1912482"/>
            <a:ext cx="4119898" cy="0"/>
          </a:xfrm>
          <a:prstGeom prst="line">
            <a:avLst/>
          </a:prstGeom>
          <a:ln w="9525" cap="sq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40F83323-E0C1-023F-96B2-9315F7AF60C7}"/>
              </a:ext>
            </a:extLst>
          </p:cNvPr>
          <p:cNvSpPr/>
          <p:nvPr/>
        </p:nvSpPr>
        <p:spPr>
          <a:xfrm>
            <a:off x="9405417" y="1873324"/>
            <a:ext cx="91015" cy="91015"/>
          </a:xfrm>
          <a:prstGeom prst="ellipse">
            <a:avLst/>
          </a:prstGeom>
          <a:solidFill>
            <a:schemeClr val="bg1"/>
          </a:solidFill>
          <a:ln w="9525" cap="sq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E7A6DE-8C8F-FA1D-B5A2-FFF22D3909D3}"/>
              </a:ext>
            </a:extLst>
          </p:cNvPr>
          <p:cNvCxnSpPr>
            <a:cxnSpLocks/>
          </p:cNvCxnSpPr>
          <p:nvPr/>
        </p:nvCxnSpPr>
        <p:spPr>
          <a:xfrm>
            <a:off x="2078588" y="3718723"/>
            <a:ext cx="0" cy="1076432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">
            <a:extLst>
              <a:ext uri="{FF2B5EF4-FFF2-40B4-BE49-F238E27FC236}">
                <a16:creationId xmlns:a16="http://schemas.microsoft.com/office/drawing/2014/main" id="{C164C8A3-4AC3-8415-8BAB-5850E9EE6EB6}"/>
              </a:ext>
            </a:extLst>
          </p:cNvPr>
          <p:cNvSpPr txBox="1"/>
          <p:nvPr/>
        </p:nvSpPr>
        <p:spPr>
          <a:xfrm>
            <a:off x="839736" y="1509853"/>
            <a:ext cx="1522925" cy="39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2262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9" b="1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Production</a:t>
            </a:r>
          </a:p>
        </p:txBody>
      </p:sp>
      <p:sp>
        <p:nvSpPr>
          <p:cNvPr id="66" name="TextBox 13">
            <a:extLst>
              <a:ext uri="{FF2B5EF4-FFF2-40B4-BE49-F238E27FC236}">
                <a16:creationId xmlns:a16="http://schemas.microsoft.com/office/drawing/2014/main" id="{F5D34134-28E2-581C-60B9-6AAFA7166178}"/>
              </a:ext>
            </a:extLst>
          </p:cNvPr>
          <p:cNvSpPr txBox="1"/>
          <p:nvPr/>
        </p:nvSpPr>
        <p:spPr>
          <a:xfrm>
            <a:off x="4068276" y="1534436"/>
            <a:ext cx="2591075" cy="39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2262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9" b="1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Storage &amp; Distribution</a:t>
            </a:r>
          </a:p>
        </p:txBody>
      </p:sp>
      <p:sp>
        <p:nvSpPr>
          <p:cNvPr id="71" name="TextBox 14">
            <a:extLst>
              <a:ext uri="{FF2B5EF4-FFF2-40B4-BE49-F238E27FC236}">
                <a16:creationId xmlns:a16="http://schemas.microsoft.com/office/drawing/2014/main" id="{41ECE63F-74FA-DC82-B552-B76E49359BD1}"/>
              </a:ext>
            </a:extLst>
          </p:cNvPr>
          <p:cNvSpPr txBox="1"/>
          <p:nvPr/>
        </p:nvSpPr>
        <p:spPr>
          <a:xfrm>
            <a:off x="8055265" y="1536935"/>
            <a:ext cx="2277988" cy="39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2262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9" b="1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Usage</a:t>
            </a:r>
          </a:p>
        </p:txBody>
      </p: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7B6E3A6B-CA19-1774-C323-DAD43F6CC509}"/>
              </a:ext>
            </a:extLst>
          </p:cNvPr>
          <p:cNvGrpSpPr/>
          <p:nvPr/>
        </p:nvGrpSpPr>
        <p:grpSpPr>
          <a:xfrm>
            <a:off x="791585" y="3748205"/>
            <a:ext cx="1382035" cy="1119013"/>
            <a:chOff x="1191633" y="3748205"/>
            <a:chExt cx="979438" cy="1119013"/>
          </a:xfrm>
        </p:grpSpPr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2A6635B1-ACF5-01DC-7E1A-4D4243E9D0F6}"/>
                </a:ext>
              </a:extLst>
            </p:cNvPr>
            <p:cNvCxnSpPr>
              <a:cxnSpLocks/>
            </p:cNvCxnSpPr>
            <p:nvPr/>
          </p:nvCxnSpPr>
          <p:spPr>
            <a:xfrm>
              <a:off x="1191633" y="3748205"/>
              <a:ext cx="0" cy="1109191"/>
            </a:xfrm>
            <a:prstGeom prst="line">
              <a:avLst/>
            </a:prstGeom>
            <a:ln w="9525" cap="sq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4CB961A4-3805-19B9-A0A9-98CF1CC372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91633" y="4867218"/>
              <a:ext cx="979438" cy="0"/>
            </a:xfrm>
            <a:prstGeom prst="line">
              <a:avLst/>
            </a:prstGeom>
            <a:ln w="9525" cap="sq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665CEED0-1D0A-6F64-C01C-E22F91AE7A7C}"/>
              </a:ext>
            </a:extLst>
          </p:cNvPr>
          <p:cNvCxnSpPr>
            <a:cxnSpLocks/>
          </p:cNvCxnSpPr>
          <p:nvPr/>
        </p:nvCxnSpPr>
        <p:spPr>
          <a:xfrm>
            <a:off x="5894234" y="3692595"/>
            <a:ext cx="0" cy="2016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7FF76C8-CA16-3C35-4A1B-A9026E1DF536}"/>
              </a:ext>
            </a:extLst>
          </p:cNvPr>
          <p:cNvCxnSpPr>
            <a:cxnSpLocks/>
          </p:cNvCxnSpPr>
          <p:nvPr/>
        </p:nvCxnSpPr>
        <p:spPr>
          <a:xfrm flipH="1" flipV="1">
            <a:off x="5894234" y="5700314"/>
            <a:ext cx="2360173" cy="502"/>
          </a:xfrm>
          <a:prstGeom prst="line">
            <a:avLst/>
          </a:prstGeom>
          <a:ln w="9525" cap="sq">
            <a:solidFill>
              <a:schemeClr val="bg2"/>
            </a:solidFill>
            <a:beve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3557EAFC-7301-16A0-0606-EB962511022B}"/>
              </a:ext>
            </a:extLst>
          </p:cNvPr>
          <p:cNvGrpSpPr/>
          <p:nvPr/>
        </p:nvGrpSpPr>
        <p:grpSpPr>
          <a:xfrm flipH="1">
            <a:off x="7922448" y="4383576"/>
            <a:ext cx="1831248" cy="1316738"/>
            <a:chOff x="1183368" y="3718723"/>
            <a:chExt cx="2076040" cy="1148495"/>
          </a:xfrm>
        </p:grpSpPr>
        <p:cxnSp>
          <p:nvCxnSpPr>
            <p:cNvPr id="97" name="Gerader Verbinder 96">
              <a:extLst>
                <a:ext uri="{FF2B5EF4-FFF2-40B4-BE49-F238E27FC236}">
                  <a16:creationId xmlns:a16="http://schemas.microsoft.com/office/drawing/2014/main" id="{DB87E07F-D1ED-2E81-4014-B55063D64B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88032" y="3718723"/>
              <a:ext cx="0" cy="1148495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>
              <a:extLst>
                <a:ext uri="{FF2B5EF4-FFF2-40B4-BE49-F238E27FC236}">
                  <a16:creationId xmlns:a16="http://schemas.microsoft.com/office/drawing/2014/main" id="{334BA13D-86B7-729D-ECB1-50DF7740318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83368" y="4867218"/>
              <a:ext cx="207604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A43083C4-8436-7EFA-A861-E17C076CBE7C}"/>
              </a:ext>
            </a:extLst>
          </p:cNvPr>
          <p:cNvGrpSpPr/>
          <p:nvPr/>
        </p:nvGrpSpPr>
        <p:grpSpPr>
          <a:xfrm flipH="1">
            <a:off x="2979219" y="3762515"/>
            <a:ext cx="3386944" cy="1118939"/>
            <a:chOff x="-7227788" y="3718723"/>
            <a:chExt cx="9412187" cy="1148495"/>
          </a:xfrm>
        </p:grpSpPr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20C53D4E-0F6C-1923-D0F6-6420DEA182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91633" y="3718723"/>
              <a:ext cx="0" cy="1148495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CED224CF-DC53-C066-6DE9-56212A6C38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7227788" y="4867218"/>
              <a:ext cx="9412187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FFE1ADCE-E2CA-562E-3767-3531A266730B}"/>
              </a:ext>
            </a:extLst>
          </p:cNvPr>
          <p:cNvCxnSpPr>
            <a:cxnSpLocks/>
            <a:stCxn id="127" idx="2"/>
          </p:cNvCxnSpPr>
          <p:nvPr/>
        </p:nvCxnSpPr>
        <p:spPr>
          <a:xfrm>
            <a:off x="9753697" y="3388626"/>
            <a:ext cx="0" cy="220404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3150EBF-94F4-227E-26C1-E52CA42BAF72}"/>
              </a:ext>
            </a:extLst>
          </p:cNvPr>
          <p:cNvGrpSpPr/>
          <p:nvPr/>
        </p:nvGrpSpPr>
        <p:grpSpPr>
          <a:xfrm>
            <a:off x="1465351" y="2379054"/>
            <a:ext cx="1218603" cy="1448013"/>
            <a:chOff x="2221110" y="2391000"/>
            <a:chExt cx="1218603" cy="1448013"/>
          </a:xfrm>
        </p:grpSpPr>
        <p:sp>
          <p:nvSpPr>
            <p:cNvPr id="113" name="Ellipse 112">
              <a:extLst>
                <a:ext uri="{FF2B5EF4-FFF2-40B4-BE49-F238E27FC236}">
                  <a16:creationId xmlns:a16="http://schemas.microsoft.com/office/drawing/2014/main" id="{874ADC1C-D14F-A90C-C773-6B2F5BD7E705}"/>
                </a:ext>
              </a:extLst>
            </p:cNvPr>
            <p:cNvSpPr/>
            <p:nvPr/>
          </p:nvSpPr>
          <p:spPr>
            <a:xfrm>
              <a:off x="2336615" y="2851427"/>
              <a:ext cx="987586" cy="9875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12" name="Textfeld 111">
              <a:extLst>
                <a:ext uri="{FF2B5EF4-FFF2-40B4-BE49-F238E27FC236}">
                  <a16:creationId xmlns:a16="http://schemas.microsoft.com/office/drawing/2014/main" id="{E86A0E4A-0D38-20A9-8C5F-8D23AC87DBBD}"/>
                </a:ext>
              </a:extLst>
            </p:cNvPr>
            <p:cNvSpPr txBox="1"/>
            <p:nvPr/>
          </p:nvSpPr>
          <p:spPr>
            <a:xfrm>
              <a:off x="2221110" y="2391000"/>
              <a:ext cx="121860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PEM electrolysis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stack </a:t>
              </a:r>
            </a:p>
          </p:txBody>
        </p:sp>
      </p:grp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DC3FB6D2-11A2-F54B-597D-8F89C7B96943}"/>
              </a:ext>
            </a:extLst>
          </p:cNvPr>
          <p:cNvGrpSpPr/>
          <p:nvPr/>
        </p:nvGrpSpPr>
        <p:grpSpPr>
          <a:xfrm>
            <a:off x="2836316" y="2379054"/>
            <a:ext cx="1000396" cy="1470350"/>
            <a:chOff x="3679388" y="2389472"/>
            <a:chExt cx="1000396" cy="1470350"/>
          </a:xfrm>
        </p:grpSpPr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EBA26D3F-5DE3-4724-BD0F-BAA4E6016926}"/>
                </a:ext>
              </a:extLst>
            </p:cNvPr>
            <p:cNvSpPr/>
            <p:nvPr/>
          </p:nvSpPr>
          <p:spPr>
            <a:xfrm>
              <a:off x="3692198" y="2872236"/>
              <a:ext cx="987586" cy="9875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8AB5755B-B998-AE5E-3906-C3B06746D6B5}"/>
                </a:ext>
              </a:extLst>
            </p:cNvPr>
            <p:cNvSpPr txBox="1"/>
            <p:nvPr/>
          </p:nvSpPr>
          <p:spPr>
            <a:xfrm>
              <a:off x="3679388" y="2389472"/>
              <a:ext cx="971741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Optical gas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spectrometer</a:t>
              </a:r>
            </a:p>
          </p:txBody>
        </p:sp>
      </p:grpSp>
      <p:sp>
        <p:nvSpPr>
          <p:cNvPr id="130" name="Textfeld 129">
            <a:extLst>
              <a:ext uri="{FF2B5EF4-FFF2-40B4-BE49-F238E27FC236}">
                <a16:creationId xmlns:a16="http://schemas.microsoft.com/office/drawing/2014/main" id="{5B87E2AB-61EF-8FAD-2F75-672B86B65C87}"/>
              </a:ext>
            </a:extLst>
          </p:cNvPr>
          <p:cNvSpPr txBox="1"/>
          <p:nvPr/>
        </p:nvSpPr>
        <p:spPr>
          <a:xfrm>
            <a:off x="186699" y="469797"/>
            <a:ext cx="105968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/>
                <a:ea typeface="+mn-ea"/>
                <a:cs typeface="Arial" panose="020B0604020202020204" pitchFamily="34" charset="0"/>
              </a:rPr>
              <a:t>Bosch H</a:t>
            </a:r>
            <a:r>
              <a:rPr kumimoji="0" lang="en-US" sz="2800" b="1" i="0" u="none" strike="noStrike" kern="1200" cap="none" spc="0" normalizeH="0" baseline="-2500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2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/>
                <a:ea typeface="+mn-ea"/>
                <a:cs typeface="Arial" panose="020B0604020202020204" pitchFamily="34" charset="0"/>
              </a:rPr>
              <a:t> portfolio  </a:t>
            </a:r>
          </a:p>
          <a:p>
            <a:pPr marL="0" marR="0" lvl="0" indent="0" algn="ctr" defTabSz="822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/>
                <a:ea typeface="+mn-ea"/>
                <a:cs typeface="Arial" panose="020B0604020202020204" pitchFamily="34" charset="0"/>
              </a:rPr>
              <a:t>brings in the maximum knowledge span</a:t>
            </a:r>
            <a:endParaRPr kumimoji="0" lang="de-DE" sz="2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5" name="Grafik 134" descr="Ein Bild, das Grafiken, Screenshot, Design, Kunst enthält.&#10;&#10;Automatisch generierte Beschreibung">
            <a:extLst>
              <a:ext uri="{FF2B5EF4-FFF2-40B4-BE49-F238E27FC236}">
                <a16:creationId xmlns:a16="http://schemas.microsoft.com/office/drawing/2014/main" id="{5D70EEDE-C7C0-8902-AD0E-49859225D47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5043" t="75642" r="40089" b="2651"/>
          <a:stretch/>
        </p:blipFill>
        <p:spPr>
          <a:xfrm>
            <a:off x="839736" y="4229772"/>
            <a:ext cx="2531119" cy="1120401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9EADE2D-11C1-1D98-FDF2-8352A1F4A357}"/>
              </a:ext>
            </a:extLst>
          </p:cNvPr>
          <p:cNvGrpSpPr/>
          <p:nvPr/>
        </p:nvGrpSpPr>
        <p:grpSpPr>
          <a:xfrm>
            <a:off x="-966359" y="4090089"/>
            <a:ext cx="2426905" cy="2121088"/>
            <a:chOff x="-850734" y="3939221"/>
            <a:chExt cx="2348565" cy="2052620"/>
          </a:xfrm>
        </p:grpSpPr>
        <p:pic>
          <p:nvPicPr>
            <p:cNvPr id="136" name="Grafik 135" descr="Ein Bild, das Windmühle, Nacht enthält.&#10;&#10;Automatisch generierte Beschreibung">
              <a:extLst>
                <a:ext uri="{FF2B5EF4-FFF2-40B4-BE49-F238E27FC236}">
                  <a16:creationId xmlns:a16="http://schemas.microsoft.com/office/drawing/2014/main" id="{83487973-1A78-3FBF-BC73-19D8D3E91E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3517" r="59378" b="45973"/>
            <a:stretch/>
          </p:blipFill>
          <p:spPr>
            <a:xfrm>
              <a:off x="-850734" y="3939221"/>
              <a:ext cx="1597923" cy="1457903"/>
            </a:xfrm>
            <a:prstGeom prst="rect">
              <a:avLst/>
            </a:prstGeom>
          </p:spPr>
        </p:pic>
        <p:pic>
          <p:nvPicPr>
            <p:cNvPr id="137" name="Grafik 136" descr="Ein Bild, das Windmühle, Windturbine, Windfarm, Screenshot enthält.&#10;&#10;Automatisch generierte Beschreibung">
              <a:extLst>
                <a:ext uri="{FF2B5EF4-FFF2-40B4-BE49-F238E27FC236}">
                  <a16:creationId xmlns:a16="http://schemas.microsoft.com/office/drawing/2014/main" id="{F7CD51C4-9A0C-5E3E-96D7-92FEEEA2C2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aturation sat="0"/>
                      </a14:imgEffect>
                      <a14:imgEffect>
                        <a14:brightnessContrast bright="35000"/>
                      </a14:imgEffect>
                    </a14:imgLayer>
                  </a14:imgProps>
                </a:ext>
              </a:extLst>
            </a:blip>
            <a:srcRect l="9035" t="61003" r="65861" b="20839"/>
            <a:stretch/>
          </p:blipFill>
          <p:spPr>
            <a:xfrm>
              <a:off x="-315629" y="4791769"/>
              <a:ext cx="1813460" cy="1200072"/>
            </a:xfrm>
            <a:prstGeom prst="rect">
              <a:avLst/>
            </a:prstGeom>
          </p:spPr>
        </p:pic>
      </p:grpSp>
      <p:sp>
        <p:nvSpPr>
          <p:cNvPr id="149" name="Gleichschenkliges Dreieck 148">
            <a:extLst>
              <a:ext uri="{FF2B5EF4-FFF2-40B4-BE49-F238E27FC236}">
                <a16:creationId xmlns:a16="http://schemas.microsoft.com/office/drawing/2014/main" id="{9C3D6DBD-6966-5278-80C7-21534622A3DC}"/>
              </a:ext>
            </a:extLst>
          </p:cNvPr>
          <p:cNvSpPr/>
          <p:nvPr/>
        </p:nvSpPr>
        <p:spPr>
          <a:xfrm>
            <a:off x="10108598" y="4024154"/>
            <a:ext cx="309961" cy="252464"/>
          </a:xfrm>
          <a:prstGeom prst="triangle">
            <a:avLst/>
          </a:prstGeom>
          <a:solidFill>
            <a:srgbClr val="C3D3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FF7B0C-8626-535E-7C81-453ABA32F0BC}"/>
              </a:ext>
            </a:extLst>
          </p:cNvPr>
          <p:cNvGrpSpPr/>
          <p:nvPr/>
        </p:nvGrpSpPr>
        <p:grpSpPr>
          <a:xfrm>
            <a:off x="-8421359" y="-7265931"/>
            <a:ext cx="27830588" cy="20701101"/>
            <a:chOff x="-8421359" y="-7265931"/>
            <a:chExt cx="27830588" cy="20701101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C30D33E-A94D-C9F7-F305-6A75AA28E575}"/>
                </a:ext>
              </a:extLst>
            </p:cNvPr>
            <p:cNvSpPr/>
            <p:nvPr/>
          </p:nvSpPr>
          <p:spPr>
            <a:xfrm>
              <a:off x="10984303" y="-2361692"/>
              <a:ext cx="8424926" cy="1138882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BEC79699-F72C-0D8A-5088-6372D2EAF64E}"/>
                </a:ext>
              </a:extLst>
            </p:cNvPr>
            <p:cNvSpPr/>
            <p:nvPr/>
          </p:nvSpPr>
          <p:spPr>
            <a:xfrm>
              <a:off x="-8421359" y="-2609106"/>
              <a:ext cx="8413330" cy="1138882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CC7B035-0A4D-57F6-9924-DFB5B0130EF0}"/>
                </a:ext>
              </a:extLst>
            </p:cNvPr>
            <p:cNvSpPr/>
            <p:nvPr/>
          </p:nvSpPr>
          <p:spPr>
            <a:xfrm>
              <a:off x="-8414601" y="6185064"/>
              <a:ext cx="27817071" cy="725010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1BB9836-BB19-3084-41E4-92C8038F5888}"/>
                </a:ext>
              </a:extLst>
            </p:cNvPr>
            <p:cNvSpPr/>
            <p:nvPr/>
          </p:nvSpPr>
          <p:spPr>
            <a:xfrm>
              <a:off x="-8414601" y="-7265931"/>
              <a:ext cx="27817071" cy="725010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DE00577-BD50-8D2C-57CA-29AC9A5B5884}"/>
              </a:ext>
            </a:extLst>
          </p:cNvPr>
          <p:cNvGrpSpPr/>
          <p:nvPr/>
        </p:nvGrpSpPr>
        <p:grpSpPr>
          <a:xfrm>
            <a:off x="6737630" y="2458569"/>
            <a:ext cx="986400" cy="1372447"/>
            <a:chOff x="7763790" y="2466205"/>
            <a:chExt cx="986400" cy="1372447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07157D19-B65E-4AAC-DC45-08E6CF0FB5BA}"/>
                </a:ext>
              </a:extLst>
            </p:cNvPr>
            <p:cNvSpPr txBox="1"/>
            <p:nvPr/>
          </p:nvSpPr>
          <p:spPr>
            <a:xfrm>
              <a:off x="7847833" y="2466205"/>
              <a:ext cx="82266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CryoPump</a:t>
              </a: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DC40F4A8-C481-258E-66A2-4CE4584E8AC9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3"/>
            <a:srcRect l="613" r="613"/>
            <a:stretch/>
          </p:blipFill>
          <p:spPr>
            <a:xfrm>
              <a:off x="7763790" y="2852252"/>
              <a:ext cx="986400" cy="986400"/>
            </a:xfrm>
            <a:prstGeom prst="ellipse">
              <a:avLst/>
            </a:prstGeom>
            <a:solidFill>
              <a:schemeClr val="accent1"/>
            </a:solidFill>
          </p:spPr>
        </p:pic>
      </p:grp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F4C3B373-BD23-8079-04C4-9AA647A7E911}"/>
              </a:ext>
            </a:extLst>
          </p:cNvPr>
          <p:cNvGrpSpPr/>
          <p:nvPr/>
        </p:nvGrpSpPr>
        <p:grpSpPr>
          <a:xfrm>
            <a:off x="9253422" y="2401040"/>
            <a:ext cx="1539888" cy="2677703"/>
            <a:chOff x="9108058" y="2285306"/>
            <a:chExt cx="1539888" cy="2677703"/>
          </a:xfrm>
        </p:grpSpPr>
        <p:grpSp>
          <p:nvGrpSpPr>
            <p:cNvPr id="121" name="Gruppieren 120">
              <a:extLst>
                <a:ext uri="{FF2B5EF4-FFF2-40B4-BE49-F238E27FC236}">
                  <a16:creationId xmlns:a16="http://schemas.microsoft.com/office/drawing/2014/main" id="{849A5D8E-2BCC-2C46-E039-5C9BDBE412BB}"/>
                </a:ext>
              </a:extLst>
            </p:cNvPr>
            <p:cNvGrpSpPr/>
            <p:nvPr/>
          </p:nvGrpSpPr>
          <p:grpSpPr>
            <a:xfrm>
              <a:off x="9108058" y="2285306"/>
              <a:ext cx="994068" cy="2195412"/>
              <a:chOff x="9108058" y="2285306"/>
              <a:chExt cx="994068" cy="2195412"/>
            </a:xfrm>
          </p:grpSpPr>
          <p:sp>
            <p:nvSpPr>
              <p:cNvPr id="124" name="Ellipse 123">
                <a:extLst>
                  <a:ext uri="{FF2B5EF4-FFF2-40B4-BE49-F238E27FC236}">
                    <a16:creationId xmlns:a16="http://schemas.microsoft.com/office/drawing/2014/main" id="{B8B48F03-3DCF-AA8A-3305-6B087FD26922}"/>
                  </a:ext>
                </a:extLst>
              </p:cNvPr>
              <p:cNvSpPr/>
              <p:nvPr/>
            </p:nvSpPr>
            <p:spPr>
              <a:xfrm>
                <a:off x="9108058" y="3493296"/>
                <a:ext cx="987422" cy="98742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pic>
            <p:nvPicPr>
              <p:cNvPr id="126" name="Grafik 125">
                <a:extLst>
                  <a:ext uri="{FF2B5EF4-FFF2-40B4-BE49-F238E27FC236}">
                    <a16:creationId xmlns:a16="http://schemas.microsoft.com/office/drawing/2014/main" id="{6A2A8703-718A-1629-AD28-A3A89ED7B1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brightnessContrast bright="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256" t="-2849" r="26873" b="24423"/>
              <a:stretch/>
            </p:blipFill>
            <p:spPr>
              <a:xfrm>
                <a:off x="9210872" y="3493296"/>
                <a:ext cx="884608" cy="927015"/>
              </a:xfrm>
              <a:custGeom>
                <a:avLst/>
                <a:gdLst>
                  <a:gd name="connsiteX0" fmla="*/ 390897 w 884608"/>
                  <a:gd name="connsiteY0" fmla="*/ 0 h 927015"/>
                  <a:gd name="connsiteX1" fmla="*/ 884608 w 884608"/>
                  <a:gd name="connsiteY1" fmla="*/ 493711 h 927015"/>
                  <a:gd name="connsiteX2" fmla="*/ 666935 w 884608"/>
                  <a:gd name="connsiteY2" fmla="*/ 903104 h 927015"/>
                  <a:gd name="connsiteX3" fmla="*/ 622883 w 884608"/>
                  <a:gd name="connsiteY3" fmla="*/ 927015 h 927015"/>
                  <a:gd name="connsiteX4" fmla="*/ 158911 w 884608"/>
                  <a:gd name="connsiteY4" fmla="*/ 927015 h 927015"/>
                  <a:gd name="connsiteX5" fmla="*/ 114859 w 884608"/>
                  <a:gd name="connsiteY5" fmla="*/ 903104 h 927015"/>
                  <a:gd name="connsiteX6" fmla="*/ 41791 w 884608"/>
                  <a:gd name="connsiteY6" fmla="*/ 842818 h 927015"/>
                  <a:gd name="connsiteX7" fmla="*/ 0 w 884608"/>
                  <a:gd name="connsiteY7" fmla="*/ 792167 h 927015"/>
                  <a:gd name="connsiteX8" fmla="*/ 0 w 884608"/>
                  <a:gd name="connsiteY8" fmla="*/ 195255 h 927015"/>
                  <a:gd name="connsiteX9" fmla="*/ 41791 w 884608"/>
                  <a:gd name="connsiteY9" fmla="*/ 144605 h 927015"/>
                  <a:gd name="connsiteX10" fmla="*/ 390897 w 884608"/>
                  <a:gd name="connsiteY10" fmla="*/ 0 h 92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4608" h="927015">
                    <a:moveTo>
                      <a:pt x="390897" y="0"/>
                    </a:moveTo>
                    <a:cubicBezTo>
                      <a:pt x="663566" y="0"/>
                      <a:pt x="884608" y="221042"/>
                      <a:pt x="884608" y="493711"/>
                    </a:cubicBezTo>
                    <a:cubicBezTo>
                      <a:pt x="884608" y="664129"/>
                      <a:pt x="798263" y="814381"/>
                      <a:pt x="666935" y="903104"/>
                    </a:cubicBezTo>
                    <a:lnTo>
                      <a:pt x="622883" y="927015"/>
                    </a:lnTo>
                    <a:lnTo>
                      <a:pt x="158911" y="927015"/>
                    </a:lnTo>
                    <a:lnTo>
                      <a:pt x="114859" y="903104"/>
                    </a:lnTo>
                    <a:cubicBezTo>
                      <a:pt x="88593" y="885359"/>
                      <a:pt x="64127" y="865154"/>
                      <a:pt x="41791" y="842818"/>
                    </a:cubicBezTo>
                    <a:lnTo>
                      <a:pt x="0" y="792167"/>
                    </a:lnTo>
                    <a:lnTo>
                      <a:pt x="0" y="195255"/>
                    </a:lnTo>
                    <a:lnTo>
                      <a:pt x="41791" y="144605"/>
                    </a:lnTo>
                    <a:cubicBezTo>
                      <a:pt x="131135" y="55261"/>
                      <a:pt x="254563" y="0"/>
                      <a:pt x="390897" y="0"/>
                    </a:cubicBezTo>
                    <a:close/>
                  </a:path>
                </a:pathLst>
              </a:custGeom>
            </p:spPr>
          </p:pic>
          <p:pic>
            <p:nvPicPr>
              <p:cNvPr id="127" name="Grafik 126">
                <a:extLst>
                  <a:ext uri="{FF2B5EF4-FFF2-40B4-BE49-F238E27FC236}">
                    <a16:creationId xmlns:a16="http://schemas.microsoft.com/office/drawing/2014/main" id="{2D38DF54-3820-DB26-93A2-5B91411E619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515" t="-978" r="29323" b="9133"/>
              <a:stretch/>
            </p:blipFill>
            <p:spPr>
              <a:xfrm>
                <a:off x="9114540" y="2285306"/>
                <a:ext cx="987586" cy="987586"/>
              </a:xfrm>
              <a:custGeom>
                <a:avLst/>
                <a:gdLst>
                  <a:gd name="connsiteX0" fmla="*/ 2014543 w 4029086"/>
                  <a:gd name="connsiteY0" fmla="*/ 0 h 4029086"/>
                  <a:gd name="connsiteX1" fmla="*/ 4029086 w 4029086"/>
                  <a:gd name="connsiteY1" fmla="*/ 2014543 h 4029086"/>
                  <a:gd name="connsiteX2" fmla="*/ 2014543 w 4029086"/>
                  <a:gd name="connsiteY2" fmla="*/ 4029086 h 4029086"/>
                  <a:gd name="connsiteX3" fmla="*/ 0 w 4029086"/>
                  <a:gd name="connsiteY3" fmla="*/ 2014543 h 4029086"/>
                  <a:gd name="connsiteX4" fmla="*/ 2014543 w 4029086"/>
                  <a:gd name="connsiteY4" fmla="*/ 0 h 4029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9086" h="4029086">
                    <a:moveTo>
                      <a:pt x="2014543" y="0"/>
                    </a:moveTo>
                    <a:cubicBezTo>
                      <a:pt x="3127144" y="0"/>
                      <a:pt x="4029086" y="901942"/>
                      <a:pt x="4029086" y="2014543"/>
                    </a:cubicBezTo>
                    <a:cubicBezTo>
                      <a:pt x="4029086" y="3127144"/>
                      <a:pt x="3127144" y="4029086"/>
                      <a:pt x="2014543" y="4029086"/>
                    </a:cubicBezTo>
                    <a:cubicBezTo>
                      <a:pt x="901942" y="4029086"/>
                      <a:pt x="0" y="3127144"/>
                      <a:pt x="0" y="2014543"/>
                    </a:cubicBezTo>
                    <a:cubicBezTo>
                      <a:pt x="0" y="901942"/>
                      <a:pt x="901942" y="0"/>
                      <a:pt x="2014543" y="0"/>
                    </a:cubicBezTo>
                    <a:close/>
                  </a:path>
                </a:pathLst>
              </a:custGeom>
              <a:solidFill>
                <a:schemeClr val="accent1"/>
              </a:solidFill>
            </p:spPr>
          </p:pic>
        </p:grpSp>
        <p:sp>
          <p:nvSpPr>
            <p:cNvPr id="122" name="Textfeld 121">
              <a:extLst>
                <a:ext uri="{FF2B5EF4-FFF2-40B4-BE49-F238E27FC236}">
                  <a16:creationId xmlns:a16="http://schemas.microsoft.com/office/drawing/2014/main" id="{9392A24F-C207-820F-594C-B55C5DFCACCF}"/>
                </a:ext>
              </a:extLst>
            </p:cNvPr>
            <p:cNvSpPr txBox="1"/>
            <p:nvPr/>
          </p:nvSpPr>
          <p:spPr>
            <a:xfrm>
              <a:off x="9772385" y="4385928"/>
              <a:ext cx="875561" cy="5770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H</a:t>
              </a:r>
              <a:r>
                <a:rPr kumimoji="0" lang="en-US" sz="1050" b="0" i="0" u="none" strike="noStrike" kern="1200" cap="none" spc="0" normalizeH="0" baseline="-25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combusti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engine</a:t>
              </a:r>
            </a:p>
          </p:txBody>
        </p: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81BC1503-7419-A7EE-6033-E099531E216A}"/>
                </a:ext>
              </a:extLst>
            </p:cNvPr>
            <p:cNvSpPr txBox="1"/>
            <p:nvPr/>
          </p:nvSpPr>
          <p:spPr>
            <a:xfrm>
              <a:off x="9772385" y="3166788"/>
              <a:ext cx="724878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Fuel cell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engine</a:t>
              </a:r>
            </a:p>
          </p:txBody>
        </p:sp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9D6FA4FC-A763-3072-E3CA-7623A031256F}"/>
              </a:ext>
            </a:extLst>
          </p:cNvPr>
          <p:cNvGrpSpPr/>
          <p:nvPr/>
        </p:nvGrpSpPr>
        <p:grpSpPr>
          <a:xfrm>
            <a:off x="5458073" y="2379054"/>
            <a:ext cx="985095" cy="1460849"/>
            <a:chOff x="5039495" y="2386659"/>
            <a:chExt cx="985095" cy="1460849"/>
          </a:xfrm>
        </p:grpSpPr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B96413F2-A77E-F648-3754-F29BEDEB6A65}"/>
                </a:ext>
              </a:extLst>
            </p:cNvPr>
            <p:cNvSpPr txBox="1"/>
            <p:nvPr/>
          </p:nvSpPr>
          <p:spPr>
            <a:xfrm>
              <a:off x="5093443" y="2386659"/>
              <a:ext cx="889987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Hydraulic</a:t>
              </a:r>
              <a:b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compressor</a:t>
              </a:r>
            </a:p>
          </p:txBody>
        </p:sp>
        <p:pic>
          <p:nvPicPr>
            <p:cNvPr id="133" name="Grafik 132" descr="Ein Bild, das Maschine enthält.&#10;&#10;Automatisch generierte Beschreibung">
              <a:extLst>
                <a:ext uri="{FF2B5EF4-FFF2-40B4-BE49-F238E27FC236}">
                  <a16:creationId xmlns:a16="http://schemas.microsoft.com/office/drawing/2014/main" id="{3AB7C2C2-E248-DB14-B4D5-847D3EA70C0A}"/>
                </a:ext>
              </a:extLst>
            </p:cNvPr>
            <p:cNvPicPr>
              <a:picLocks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27" t="1753" r="19805" b="859"/>
            <a:stretch/>
          </p:blipFill>
          <p:spPr>
            <a:xfrm>
              <a:off x="5039495" y="2861108"/>
              <a:ext cx="985095" cy="986400"/>
            </a:xfrm>
            <a:prstGeom prst="ellipse">
              <a:avLst/>
            </a:prstGeom>
            <a:solidFill>
              <a:srgbClr val="00884A"/>
            </a:solidFill>
          </p:spPr>
        </p:pic>
      </p:grpSp>
      <p:pic>
        <p:nvPicPr>
          <p:cNvPr id="141" name="Grafik 140" descr="Ein Bild, das Grafiken, Screenshot, Design, Kunst enthält.&#10;&#10;Automatisch generierte Beschreibung">
            <a:extLst>
              <a:ext uri="{FF2B5EF4-FFF2-40B4-BE49-F238E27FC236}">
                <a16:creationId xmlns:a16="http://schemas.microsoft.com/office/drawing/2014/main" id="{64A41A09-6B45-EB83-6941-035EFF04E52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8678" t="75446" r="22225" b="7940"/>
          <a:stretch/>
        </p:blipFill>
        <p:spPr>
          <a:xfrm>
            <a:off x="6261293" y="4320356"/>
            <a:ext cx="502397" cy="839484"/>
          </a:xfrm>
          <a:prstGeom prst="rect">
            <a:avLst/>
          </a:prstGeom>
        </p:spPr>
      </p:pic>
      <p:pic>
        <p:nvPicPr>
          <p:cNvPr id="142" name="Grafik 141" descr="Ein Bild, das Screenshot, Design enthält.&#10;&#10;Automatisch generierte Beschreibung">
            <a:extLst>
              <a:ext uri="{FF2B5EF4-FFF2-40B4-BE49-F238E27FC236}">
                <a16:creationId xmlns:a16="http://schemas.microsoft.com/office/drawing/2014/main" id="{81A6A479-ECB1-D389-6797-22C4E6C860C5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13267" t="46364" r="17154" b="28449"/>
          <a:stretch/>
        </p:blipFill>
        <p:spPr>
          <a:xfrm>
            <a:off x="6525763" y="4568253"/>
            <a:ext cx="2428690" cy="804347"/>
          </a:xfrm>
          <a:prstGeom prst="rect">
            <a:avLst/>
          </a:prstGeom>
        </p:spPr>
      </p:pic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441879E7-A8CD-DE34-04EE-35B40F00218A}"/>
              </a:ext>
            </a:extLst>
          </p:cNvPr>
          <p:cNvGrpSpPr/>
          <p:nvPr/>
        </p:nvGrpSpPr>
        <p:grpSpPr>
          <a:xfrm>
            <a:off x="7866311" y="2379054"/>
            <a:ext cx="1189748" cy="1451962"/>
            <a:chOff x="7664290" y="2386690"/>
            <a:chExt cx="1189748" cy="1451962"/>
          </a:xfrm>
        </p:grpSpPr>
        <p:sp>
          <p:nvSpPr>
            <p:cNvPr id="144" name="Textfeld 143">
              <a:extLst>
                <a:ext uri="{FF2B5EF4-FFF2-40B4-BE49-F238E27FC236}">
                  <a16:creationId xmlns:a16="http://schemas.microsoft.com/office/drawing/2014/main" id="{FE39CAC0-D849-0598-06F4-76A38C3AF880}"/>
                </a:ext>
              </a:extLst>
            </p:cNvPr>
            <p:cNvSpPr txBox="1"/>
            <p:nvPr/>
          </p:nvSpPr>
          <p:spPr>
            <a:xfrm>
              <a:off x="7664290" y="2386690"/>
              <a:ext cx="118974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Universal   steam boiler</a:t>
              </a:r>
            </a:p>
          </p:txBody>
        </p:sp>
        <p:pic>
          <p:nvPicPr>
            <p:cNvPr id="145" name="Grafik 144" descr="Ein Bild, das Maschine, Autoteile, Zug, Motor enthält.&#10;&#10;Automatisch generierte Beschreibung">
              <a:extLst>
                <a:ext uri="{FF2B5EF4-FFF2-40B4-BE49-F238E27FC236}">
                  <a16:creationId xmlns:a16="http://schemas.microsoft.com/office/drawing/2014/main" id="{C3AB749C-9DBD-2435-FFA2-EF2AD7E7C5F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9"/>
            <a:srcRect l="16389" t="1" r="24661" b="-8612"/>
            <a:stretch/>
          </p:blipFill>
          <p:spPr>
            <a:xfrm>
              <a:off x="7763790" y="2852252"/>
              <a:ext cx="986400" cy="986400"/>
            </a:xfrm>
            <a:prstGeom prst="ellipse">
              <a:avLst/>
            </a:prstGeom>
            <a:solidFill>
              <a:schemeClr val="accent1"/>
            </a:solidFill>
          </p:spPr>
        </p:pic>
      </p:grpSp>
      <p:grpSp>
        <p:nvGrpSpPr>
          <p:cNvPr id="138" name="Gruppieren 137">
            <a:extLst>
              <a:ext uri="{FF2B5EF4-FFF2-40B4-BE49-F238E27FC236}">
                <a16:creationId xmlns:a16="http://schemas.microsoft.com/office/drawing/2014/main" id="{8D4E2839-A2B9-4976-E28E-91EDE166AADB}"/>
              </a:ext>
            </a:extLst>
          </p:cNvPr>
          <p:cNvGrpSpPr/>
          <p:nvPr/>
        </p:nvGrpSpPr>
        <p:grpSpPr>
          <a:xfrm>
            <a:off x="8174513" y="5103879"/>
            <a:ext cx="1570956" cy="894072"/>
            <a:chOff x="7830596" y="4883985"/>
            <a:chExt cx="1708009" cy="972072"/>
          </a:xfrm>
        </p:grpSpPr>
        <p:pic>
          <p:nvPicPr>
            <p:cNvPr id="139" name="Grafik 138" descr="Ein Bild, das Screenshot, Schwarz, Dunkelheit enthält.&#10;&#10;Automatisch generierte Beschreibung">
              <a:extLst>
                <a:ext uri="{FF2B5EF4-FFF2-40B4-BE49-F238E27FC236}">
                  <a16:creationId xmlns:a16="http://schemas.microsoft.com/office/drawing/2014/main" id="{3A546459-57D0-262A-E313-B8A30B2871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/>
            <a:srcRect l="71647" t="82305" r="6113" b="3860"/>
            <a:stretch/>
          </p:blipFill>
          <p:spPr>
            <a:xfrm>
              <a:off x="7830596" y="4883985"/>
              <a:ext cx="1708009" cy="972072"/>
            </a:xfrm>
            <a:prstGeom prst="rect">
              <a:avLst/>
            </a:prstGeom>
          </p:spPr>
        </p:pic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9942B810-B64D-C049-20DD-F7936EC96237}"/>
                </a:ext>
              </a:extLst>
            </p:cNvPr>
            <p:cNvSpPr/>
            <p:nvPr/>
          </p:nvSpPr>
          <p:spPr>
            <a:xfrm>
              <a:off x="8735531" y="5257052"/>
              <a:ext cx="203775" cy="1984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cxnSp>
        <p:nvCxnSpPr>
          <p:cNvPr id="20" name="Gerader Verbinder 85">
            <a:extLst>
              <a:ext uri="{FF2B5EF4-FFF2-40B4-BE49-F238E27FC236}">
                <a16:creationId xmlns:a16="http://schemas.microsoft.com/office/drawing/2014/main" id="{902179CB-D516-E180-33ED-8A27BAD8185F}"/>
              </a:ext>
            </a:extLst>
          </p:cNvPr>
          <p:cNvCxnSpPr>
            <a:cxnSpLocks/>
          </p:cNvCxnSpPr>
          <p:nvPr/>
        </p:nvCxnSpPr>
        <p:spPr>
          <a:xfrm flipH="1">
            <a:off x="6093545" y="4248045"/>
            <a:ext cx="1152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85">
            <a:extLst>
              <a:ext uri="{FF2B5EF4-FFF2-40B4-BE49-F238E27FC236}">
                <a16:creationId xmlns:a16="http://schemas.microsoft.com/office/drawing/2014/main" id="{733A0A23-8888-E09F-4342-37F72670E676}"/>
              </a:ext>
            </a:extLst>
          </p:cNvPr>
          <p:cNvCxnSpPr>
            <a:cxnSpLocks/>
          </p:cNvCxnSpPr>
          <p:nvPr/>
        </p:nvCxnSpPr>
        <p:spPr>
          <a:xfrm>
            <a:off x="6093545" y="4248045"/>
            <a:ext cx="0" cy="6317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99">
            <a:extLst>
              <a:ext uri="{FF2B5EF4-FFF2-40B4-BE49-F238E27FC236}">
                <a16:creationId xmlns:a16="http://schemas.microsoft.com/office/drawing/2014/main" id="{77049B6C-BDCA-BDEC-8FF0-3B13593D1BA2}"/>
              </a:ext>
            </a:extLst>
          </p:cNvPr>
          <p:cNvCxnSpPr>
            <a:cxnSpLocks/>
          </p:cNvCxnSpPr>
          <p:nvPr/>
        </p:nvCxnSpPr>
        <p:spPr>
          <a:xfrm>
            <a:off x="4638703" y="3760886"/>
            <a:ext cx="0" cy="1118939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feld 11">
            <a:extLst>
              <a:ext uri="{FF2B5EF4-FFF2-40B4-BE49-F238E27FC236}">
                <a16:creationId xmlns:a16="http://schemas.microsoft.com/office/drawing/2014/main" id="{73B708FB-E563-F418-2FA6-A95C44888924}"/>
              </a:ext>
            </a:extLst>
          </p:cNvPr>
          <p:cNvSpPr txBox="1"/>
          <p:nvPr/>
        </p:nvSpPr>
        <p:spPr>
          <a:xfrm>
            <a:off x="4097285" y="2400050"/>
            <a:ext cx="114486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mpact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gas compressor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BB7E6E3-F9BA-AF9E-6C23-DD9D90930903}"/>
              </a:ext>
            </a:extLst>
          </p:cNvPr>
          <p:cNvSpPr/>
          <p:nvPr/>
        </p:nvSpPr>
        <p:spPr>
          <a:xfrm>
            <a:off x="4143602" y="2853905"/>
            <a:ext cx="995715" cy="995715"/>
          </a:xfrm>
          <a:prstGeom prst="ellipse">
            <a:avLst/>
          </a:prstGeom>
          <a:solidFill>
            <a:srgbClr val="00884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64E760D3-4B40-7BDF-1AF6-532B8B7AC07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713" b="89815" l="9896" r="89974">
                        <a14:foregroundMark x1="26693" y1="8333" x2="22135" y2="7870"/>
                        <a14:foregroundMark x1="22526" y1="7176" x2="22526" y2="7176"/>
                        <a14:foregroundMark x1="22526" y1="6713" x2="22526" y2="6713"/>
                        <a14:foregroundMark x1="28125" y1="8102" x2="28125" y2="8102"/>
                        <a14:foregroundMark x1="20964" y1="10648" x2="18490" y2="13426"/>
                        <a14:foregroundMark x1="17578" y1="22917" x2="18620" y2="20602"/>
                        <a14:foregroundMark x1="41667" y1="86343" x2="42708" y2="83333"/>
                        <a14:foregroundMark x1="84186" y1="30787" x2="84115" y2="30093"/>
                        <a14:foregroundMark x1="84280" y1="31713" x2="84256" y2="31481"/>
                        <a14:foregroundMark x1="84375" y1="32639" x2="84280" y2="31713"/>
                        <a14:foregroundMark x1="52474" y1="50000" x2="50260" y2="49074"/>
                        <a14:foregroundMark x1="50781" y1="48611" x2="50781" y2="48611"/>
                        <a14:foregroundMark x1="51042" y1="48380" x2="51042" y2="48380"/>
                        <a14:foregroundMark x1="61589" y1="52083" x2="60677" y2="52083"/>
                        <a14:foregroundMark x1="33203" y1="22454" x2="33203" y2="22454"/>
                        <a14:foregroundMark x1="28255" y1="7639" x2="28255" y2="7639"/>
                        <a14:foregroundMark x1="28255" y1="7176" x2="28255" y2="7176"/>
                        <a14:foregroundMark x1="79297" y1="25926" x2="79297" y2="25926"/>
                        <a14:foregroundMark x1="79948" y1="26620" x2="79948" y2="26620"/>
                        <a14:foregroundMark x1="22005" y1="6713" x2="21354" y2="6944"/>
                        <a14:foregroundMark x1="20833" y1="10185" x2="20182" y2="10648"/>
                        <a14:foregroundMark x1="19661" y1="11343" x2="19531" y2="11343"/>
                        <a14:foregroundMark x1="34505" y1="29398" x2="34505" y2="31250"/>
                        <a14:foregroundMark x1="34505" y1="29861" x2="34766" y2="32639"/>
                        <a14:backgroundMark x1="80208" y1="26389" x2="80208" y2="26389"/>
                        <a14:backgroundMark x1="79948" y1="26389" x2="79948" y2="26389"/>
                        <a14:backgroundMark x1="85938" y1="30787" x2="85938" y2="31481"/>
                        <a14:backgroundMark x1="85547" y1="30787" x2="86198" y2="3171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432" y="3074140"/>
            <a:ext cx="1066543" cy="59993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1547A14-1A0A-2AAE-E1F3-DFFA36362B3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5" y="2963643"/>
            <a:ext cx="517997" cy="715010"/>
          </a:xfrm>
          <a:prstGeom prst="rect">
            <a:avLst/>
          </a:prstGeom>
        </p:spPr>
      </p:pic>
      <p:grpSp>
        <p:nvGrpSpPr>
          <p:cNvPr id="43" name="Gruppieren 108">
            <a:extLst>
              <a:ext uri="{FF2B5EF4-FFF2-40B4-BE49-F238E27FC236}">
                <a16:creationId xmlns:a16="http://schemas.microsoft.com/office/drawing/2014/main" id="{8903F927-04CE-9FD6-288C-F903A6EF9206}"/>
              </a:ext>
            </a:extLst>
          </p:cNvPr>
          <p:cNvGrpSpPr/>
          <p:nvPr/>
        </p:nvGrpSpPr>
        <p:grpSpPr>
          <a:xfrm>
            <a:off x="186699" y="2388250"/>
            <a:ext cx="1218603" cy="1448013"/>
            <a:chOff x="2221110" y="2391000"/>
            <a:chExt cx="1218603" cy="1448013"/>
          </a:xfrm>
        </p:grpSpPr>
        <p:sp>
          <p:nvSpPr>
            <p:cNvPr id="44" name="Ellipse 112">
              <a:extLst>
                <a:ext uri="{FF2B5EF4-FFF2-40B4-BE49-F238E27FC236}">
                  <a16:creationId xmlns:a16="http://schemas.microsoft.com/office/drawing/2014/main" id="{7992004A-6F76-3067-E5E2-BBA057000AF8}"/>
                </a:ext>
              </a:extLst>
            </p:cNvPr>
            <p:cNvSpPr/>
            <p:nvPr/>
          </p:nvSpPr>
          <p:spPr>
            <a:xfrm>
              <a:off x="2336615" y="2851427"/>
              <a:ext cx="987586" cy="9875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45" name="Textfeld 111">
              <a:extLst>
                <a:ext uri="{FF2B5EF4-FFF2-40B4-BE49-F238E27FC236}">
                  <a16:creationId xmlns:a16="http://schemas.microsoft.com/office/drawing/2014/main" id="{5B372231-8289-D549-DD62-9F4FD67F2245}"/>
                </a:ext>
              </a:extLst>
            </p:cNvPr>
            <p:cNvSpPr txBox="1"/>
            <p:nvPr/>
          </p:nvSpPr>
          <p:spPr>
            <a:xfrm>
              <a:off x="2221110" y="2391000"/>
              <a:ext cx="121860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Wate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purifier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6573925F-5E9E-7A2C-8231-CB079D08A3B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87" y="3027027"/>
            <a:ext cx="1106837" cy="62259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E1FCB9AF-1727-597F-EB9A-4B9A0888D6E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9865" b="89942" l="4400" r="96400">
                        <a14:foregroundMark x1="30667" y1="8511" x2="83867" y2="13926"/>
                        <a14:foregroundMark x1="83867" y1="13926" x2="92000" y2="21857"/>
                        <a14:foregroundMark x1="92000" y1="21857" x2="89067" y2="65764"/>
                        <a14:foregroundMark x1="89067" y1="65764" x2="87467" y2="74855"/>
                        <a14:foregroundMark x1="81733" y1="9865" x2="94133" y2="13540"/>
                        <a14:foregroundMark x1="94133" y1="13540" x2="96533" y2="25145"/>
                        <a14:foregroundMark x1="96533" y1="25145" x2="93733" y2="46422"/>
                        <a14:foregroundMark x1="32267" y1="7157" x2="9200" y2="22631"/>
                        <a14:foregroundMark x1="9200" y1="22631" x2="4400" y2="42940"/>
                        <a14:foregroundMark x1="4400" y1="42940" x2="4667" y2="675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3005" y="3132287"/>
            <a:ext cx="729622" cy="50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94523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5">
            <a:extLst>
              <a:ext uri="{FF2B5EF4-FFF2-40B4-BE49-F238E27FC236}">
                <a16:creationId xmlns:a16="http://schemas.microsoft.com/office/drawing/2014/main" id="{8E378A28-81B4-7458-F199-C6D28C666A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966" y="2613728"/>
            <a:ext cx="4196433" cy="30105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DB89E0-89D9-4425-AE04-BF03119740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Bosch compact gas compressor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730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171C869-23B9-408B-B304-0278DB54BBE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9877" y="986419"/>
            <a:ext cx="6080464" cy="4362191"/>
          </a:xfrm>
          <a:prstGeom prst="rect">
            <a:avLst/>
          </a:prstGeom>
        </p:spPr>
      </p:pic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5BD9607-AFD2-CE95-2B04-F1B61905BC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osch Office Sans"/>
                <a:ea typeface="+mj-ea"/>
                <a:cs typeface="+mj-cs"/>
              </a:rPr>
              <a:t>Bosch compact gas compressor</a:t>
            </a:r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703261-EF81-87DF-0DF4-FECA5808F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compact, lightweight, robust</a:t>
            </a:r>
            <a:br>
              <a:rPr lang="en-US">
                <a:solidFill>
                  <a:schemeClr val="accent2">
                    <a:lumMod val="90000"/>
                    <a:lumOff val="10000"/>
                  </a:schemeClr>
                </a:solidFill>
              </a:rPr>
            </a:br>
            <a:endParaRPr lang="en-US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89EB5BB-0181-0EC7-5BB4-7FDC29DD48E9}"/>
              </a:ext>
            </a:extLst>
          </p:cNvPr>
          <p:cNvGrpSpPr/>
          <p:nvPr/>
        </p:nvGrpSpPr>
        <p:grpSpPr>
          <a:xfrm>
            <a:off x="8998812" y="2266386"/>
            <a:ext cx="1771642" cy="835328"/>
            <a:chOff x="493018" y="3969990"/>
            <a:chExt cx="1771642" cy="835328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CD816DB9-D81E-22F4-FB68-C0C027B368B5}"/>
                </a:ext>
              </a:extLst>
            </p:cNvPr>
            <p:cNvSpPr/>
            <p:nvPr/>
          </p:nvSpPr>
          <p:spPr>
            <a:xfrm>
              <a:off x="576182" y="4205984"/>
              <a:ext cx="576000" cy="576000"/>
            </a:xfrm>
            <a:prstGeom prst="ellipse">
              <a:avLst/>
            </a:prstGeom>
            <a:solidFill>
              <a:srgbClr val="E2F5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5281CE7-11AA-4F0F-B457-AF693CF6E93A}"/>
                </a:ext>
              </a:extLst>
            </p:cNvPr>
            <p:cNvSpPr/>
            <p:nvPr/>
          </p:nvSpPr>
          <p:spPr>
            <a:xfrm>
              <a:off x="493018" y="4330030"/>
              <a:ext cx="1529727" cy="33127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p to 350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bar</a:t>
              </a:r>
              <a:endPara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479439F-12ED-81D4-D1E0-49AD7FFF2DBE}"/>
                </a:ext>
              </a:extLst>
            </p:cNvPr>
            <p:cNvSpPr/>
            <p:nvPr/>
          </p:nvSpPr>
          <p:spPr>
            <a:xfrm>
              <a:off x="493018" y="4637984"/>
              <a:ext cx="1771642" cy="16733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b="1" kern="0">
                  <a:solidFill>
                    <a:schemeClr val="accent2"/>
                  </a:solidFill>
                  <a:latin typeface="Bosch Office Sans"/>
                </a:rPr>
                <a:t>hydrogen</a:t>
              </a: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outlet pressure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CFE826A-B50B-70BD-3D2F-8C89ACEA0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25066" y="3969990"/>
              <a:ext cx="432000" cy="432000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C5EF287-C024-2821-87F0-E8EAF6FB151A}"/>
              </a:ext>
            </a:extLst>
          </p:cNvPr>
          <p:cNvGrpSpPr/>
          <p:nvPr/>
        </p:nvGrpSpPr>
        <p:grpSpPr>
          <a:xfrm>
            <a:off x="4804589" y="938357"/>
            <a:ext cx="1437595" cy="890245"/>
            <a:chOff x="2407661" y="2385814"/>
            <a:chExt cx="1437595" cy="890245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C367E06E-95A7-5A89-E887-CB9C77B7F7B0}"/>
                </a:ext>
              </a:extLst>
            </p:cNvPr>
            <p:cNvSpPr/>
            <p:nvPr/>
          </p:nvSpPr>
          <p:spPr>
            <a:xfrm>
              <a:off x="2797338" y="2601902"/>
              <a:ext cx="576000" cy="576000"/>
            </a:xfrm>
            <a:prstGeom prst="ellipse">
              <a:avLst/>
            </a:prstGeom>
            <a:solidFill>
              <a:srgbClr val="E2F5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050365A-B184-C9AB-1F95-A9C17DAAEA54}"/>
                </a:ext>
              </a:extLst>
            </p:cNvPr>
            <p:cNvSpPr/>
            <p:nvPr/>
          </p:nvSpPr>
          <p:spPr>
            <a:xfrm>
              <a:off x="2434580" y="2730689"/>
              <a:ext cx="1296144" cy="33127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≤5.0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gas purity</a:t>
              </a:r>
              <a:endPara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6BF9E05-5915-BBB5-69D9-2FE6DBABAE0B}"/>
                </a:ext>
              </a:extLst>
            </p:cNvPr>
            <p:cNvSpPr/>
            <p:nvPr/>
          </p:nvSpPr>
          <p:spPr>
            <a:xfrm>
              <a:off x="2407661" y="2987899"/>
              <a:ext cx="1437595" cy="28816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by hermetic sealing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AE74BEA-3355-22CA-2B0A-497A794B5849}"/>
                </a:ext>
              </a:extLst>
            </p:cNvPr>
            <p:cNvGrpSpPr/>
            <p:nvPr/>
          </p:nvGrpSpPr>
          <p:grpSpPr>
            <a:xfrm>
              <a:off x="2941290" y="2385814"/>
              <a:ext cx="792040" cy="432000"/>
              <a:chOff x="3805386" y="2313806"/>
              <a:chExt cx="792040" cy="432000"/>
            </a:xfrm>
          </p:grpSpPr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E43118D8-E1BA-15E8-38C5-91A4C0D255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805386" y="2313806"/>
                <a:ext cx="432000" cy="432000"/>
              </a:xfrm>
              <a:prstGeom prst="rect">
                <a:avLst/>
              </a:prstGeom>
            </p:spPr>
          </p:pic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C9111EC8-8877-5EAC-B666-08278940D6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165426" y="2313806"/>
                <a:ext cx="432000" cy="432000"/>
              </a:xfrm>
              <a:prstGeom prst="rect">
                <a:avLst/>
              </a:prstGeom>
            </p:spPr>
          </p:pic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1B84D65-8D32-CDA3-5C88-EB503217D0E1}"/>
                  </a:ext>
                </a:extLst>
              </p:cNvPr>
              <p:cNvSpPr txBox="1"/>
              <p:nvPr/>
            </p:nvSpPr>
            <p:spPr>
              <a:xfrm>
                <a:off x="4320190" y="2486302"/>
                <a:ext cx="64800" cy="108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00512A"/>
                    </a:solidFill>
                    <a:effectLst/>
                    <a:uLnTx/>
                    <a:uFillTx/>
                    <a:latin typeface="Bosch Office Sans" pitchFamily="34" charset="0"/>
                    <a:ea typeface="+mn-ea"/>
                    <a:cs typeface="+mn-cs"/>
                  </a:rPr>
                  <a:t>H</a:t>
                </a:r>
                <a:endParaRPr kumimoji="0" lang="en-GB" sz="700" b="1" i="0" u="none" strike="noStrike" kern="0" cap="none" spc="0" normalizeH="0" baseline="0" noProof="0">
                  <a:ln>
                    <a:noFill/>
                  </a:ln>
                  <a:solidFill>
                    <a:srgbClr val="00512A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endParaRPr>
              </a:p>
            </p:txBody>
          </p:sp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F980757B-4D8F-C46E-A445-5A1B3EC7CE55}"/>
                  </a:ext>
                </a:extLst>
              </p:cNvPr>
              <p:cNvCxnSpPr/>
              <p:nvPr/>
            </p:nvCxnSpPr>
            <p:spPr>
              <a:xfrm>
                <a:off x="4237434" y="2354046"/>
                <a:ext cx="0" cy="360000"/>
              </a:xfrm>
              <a:prstGeom prst="line">
                <a:avLst/>
              </a:prstGeom>
              <a:noFill/>
              <a:ln w="19050" cap="flat" cmpd="sng" algn="ctr">
                <a:solidFill>
                  <a:schemeClr val="accent2"/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775F8D1-0F18-F279-D0A6-70707507A008}"/>
              </a:ext>
            </a:extLst>
          </p:cNvPr>
          <p:cNvGrpSpPr/>
          <p:nvPr/>
        </p:nvGrpSpPr>
        <p:grpSpPr>
          <a:xfrm>
            <a:off x="7834823" y="681852"/>
            <a:ext cx="1584366" cy="832340"/>
            <a:chOff x="4153565" y="4690070"/>
            <a:chExt cx="1584366" cy="832340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94BC780F-947D-AFEE-E623-3DA287D87029}"/>
                </a:ext>
              </a:extLst>
            </p:cNvPr>
            <p:cNvSpPr/>
            <p:nvPr/>
          </p:nvSpPr>
          <p:spPr>
            <a:xfrm>
              <a:off x="4236729" y="4926016"/>
              <a:ext cx="576000" cy="576000"/>
            </a:xfrm>
            <a:prstGeom prst="ellipse">
              <a:avLst/>
            </a:prstGeom>
            <a:solidFill>
              <a:srgbClr val="E2F5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20684FB2-FCAE-BF60-6042-5CF391585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513605" y="4690070"/>
              <a:ext cx="432000" cy="432000"/>
            </a:xfrm>
            <a:prstGeom prst="rect">
              <a:avLst/>
            </a:prstGeom>
          </p:spPr>
        </p:pic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69899CB-A5FB-01BB-B985-0CC4CE972EF8}"/>
                </a:ext>
              </a:extLst>
            </p:cNvPr>
            <p:cNvSpPr/>
            <p:nvPr/>
          </p:nvSpPr>
          <p:spPr>
            <a:xfrm>
              <a:off x="4153565" y="5050062"/>
              <a:ext cx="1163989" cy="33127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800" b="1">
                  <a:solidFill>
                    <a:srgbClr val="0A4F4B"/>
                  </a:solidFill>
                  <a:latin typeface="Bosch Office Sans" pitchFamily="2" charset="0"/>
                </a:rPr>
                <a:t>≥</a:t>
              </a:r>
              <a:r>
                <a:rPr kumimoji="0" lang="en-GB" sz="1800" b="1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11</a:t>
              </a: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Nm</a:t>
              </a:r>
              <a:r>
                <a:rPr kumimoji="0" lang="en-GB" sz="1000" b="1" i="0" u="none" strike="noStrike" kern="0" cap="none" spc="0" normalizeH="0" baseline="3000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3</a:t>
              </a: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/h</a:t>
              </a: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95AEEC07-5B7F-6221-6EB2-0A2247FC41EA}"/>
                </a:ext>
              </a:extLst>
            </p:cNvPr>
            <p:cNvSpPr/>
            <p:nvPr/>
          </p:nvSpPr>
          <p:spPr>
            <a:xfrm>
              <a:off x="4208204" y="5351717"/>
              <a:ext cx="1529727" cy="17069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b="1" kern="0">
                  <a:solidFill>
                    <a:srgbClr val="18837E">
                      <a:lumMod val="50000"/>
                    </a:srgbClr>
                  </a:solidFill>
                  <a:latin typeface="Bosch Office Sans"/>
                </a:rPr>
                <a:t>hydrogen</a:t>
              </a: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18837E">
                      <a:lumMod val="50000"/>
                    </a:srgbClr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output 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DB1F822-0796-18CB-FB5D-586E59325C92}"/>
              </a:ext>
            </a:extLst>
          </p:cNvPr>
          <p:cNvGrpSpPr/>
          <p:nvPr/>
        </p:nvGrpSpPr>
        <p:grpSpPr>
          <a:xfrm>
            <a:off x="7318205" y="4298234"/>
            <a:ext cx="1671340" cy="988637"/>
            <a:chOff x="1607858" y="4618062"/>
            <a:chExt cx="1437662" cy="834854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AA6C021A-E164-7AEF-8D91-981EC984F2E2}"/>
                </a:ext>
              </a:extLst>
            </p:cNvPr>
            <p:cNvSpPr/>
            <p:nvPr/>
          </p:nvSpPr>
          <p:spPr>
            <a:xfrm>
              <a:off x="1757977" y="4876916"/>
              <a:ext cx="576000" cy="576000"/>
            </a:xfrm>
            <a:prstGeom prst="ellipse">
              <a:avLst/>
            </a:prstGeom>
            <a:solidFill>
              <a:srgbClr val="E2F5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A4F4B">
                    <a:lumMod val="90000"/>
                    <a:lumOff val="10000"/>
                  </a:srgb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924697D1-D317-8A12-1D23-CFC9DE379E1E}"/>
                </a:ext>
              </a:extLst>
            </p:cNvPr>
            <p:cNvSpPr/>
            <p:nvPr/>
          </p:nvSpPr>
          <p:spPr>
            <a:xfrm>
              <a:off x="1705293" y="4978102"/>
              <a:ext cx="1163989" cy="33127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&lt;12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kg</a:t>
              </a:r>
              <a:endPara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C524DCA-5DF3-289D-FE57-C072250B993D}"/>
                </a:ext>
              </a:extLst>
            </p:cNvPr>
            <p:cNvSpPr/>
            <p:nvPr/>
          </p:nvSpPr>
          <p:spPr>
            <a:xfrm>
              <a:off x="1607858" y="5258507"/>
              <a:ext cx="1437662" cy="15159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compact and lightweight</a:t>
              </a: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6E5B3353-7C1E-373C-9E9C-7AFC14E21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005186" y="4618062"/>
              <a:ext cx="432000" cy="432000"/>
            </a:xfrm>
            <a:prstGeom prst="rect">
              <a:avLst/>
            </a:prstGeom>
          </p:spPr>
        </p:pic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508BD5B-CE46-71EC-6131-841D34FC1B3B}"/>
              </a:ext>
            </a:extLst>
          </p:cNvPr>
          <p:cNvCxnSpPr>
            <a:cxnSpLocks/>
          </p:cNvCxnSpPr>
          <p:nvPr/>
        </p:nvCxnSpPr>
        <p:spPr>
          <a:xfrm>
            <a:off x="6360979" y="4572192"/>
            <a:ext cx="901328" cy="134565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lipse 32">
            <a:extLst>
              <a:ext uri="{FF2B5EF4-FFF2-40B4-BE49-F238E27FC236}">
                <a16:creationId xmlns:a16="http://schemas.microsoft.com/office/drawing/2014/main" id="{8550EC9A-D947-FF5E-0805-1ABFFAA759D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844716" y="4460518"/>
            <a:ext cx="576000" cy="576000"/>
          </a:xfrm>
          <a:prstGeom prst="ellipse">
            <a:avLst/>
          </a:prstGeom>
          <a:solidFill>
            <a:srgbClr val="E2F5E7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A7210C4-C882-B26A-E490-69ECF69A51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96580" y="4626910"/>
            <a:ext cx="1584000" cy="3312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durable</a:t>
            </a: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driv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9C0EA033-61ED-EB6B-A034-DDA75C5F64D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39175" y="4891580"/>
            <a:ext cx="2093461" cy="2751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from automotive applications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BA2FBF98-6BBE-EFE7-1F71-238EF362F78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988668" y="4316438"/>
            <a:ext cx="432000" cy="432000"/>
          </a:xfrm>
          <a:prstGeom prst="rect">
            <a:avLst/>
          </a:prstGeom>
        </p:spPr>
      </p:pic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9ED509A-EEFC-29BB-5489-5C6135221059}"/>
              </a:ext>
            </a:extLst>
          </p:cNvPr>
          <p:cNvCxnSpPr>
            <a:cxnSpLocks/>
          </p:cNvCxnSpPr>
          <p:nvPr/>
        </p:nvCxnSpPr>
        <p:spPr>
          <a:xfrm flipH="1">
            <a:off x="3492724" y="4588729"/>
            <a:ext cx="794882" cy="15975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0D73552C-B3AC-DCDB-D4BD-3A140485E27A}"/>
              </a:ext>
            </a:extLst>
          </p:cNvPr>
          <p:cNvCxnSpPr>
            <a:cxnSpLocks/>
          </p:cNvCxnSpPr>
          <p:nvPr/>
        </p:nvCxnSpPr>
        <p:spPr>
          <a:xfrm flipV="1">
            <a:off x="8278916" y="2848198"/>
            <a:ext cx="530832" cy="8916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57DBBCA0-6356-7C1E-0245-8B0F71B178CA}"/>
              </a:ext>
            </a:extLst>
          </p:cNvPr>
          <p:cNvCxnSpPr>
            <a:cxnSpLocks/>
          </p:cNvCxnSpPr>
          <p:nvPr/>
        </p:nvCxnSpPr>
        <p:spPr>
          <a:xfrm flipV="1">
            <a:off x="7827535" y="1691950"/>
            <a:ext cx="265488" cy="27230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BA1D51C6-3D36-0864-8D6A-EA78A5022324}"/>
              </a:ext>
            </a:extLst>
          </p:cNvPr>
          <p:cNvCxnSpPr>
            <a:cxnSpLocks/>
          </p:cNvCxnSpPr>
          <p:nvPr/>
        </p:nvCxnSpPr>
        <p:spPr>
          <a:xfrm flipH="1" flipV="1">
            <a:off x="6266752" y="1789437"/>
            <a:ext cx="468753" cy="306995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551416D-ABDA-F133-C7A7-44BB870C3B54}"/>
              </a:ext>
            </a:extLst>
          </p:cNvPr>
          <p:cNvCxnSpPr>
            <a:cxnSpLocks/>
          </p:cNvCxnSpPr>
          <p:nvPr/>
        </p:nvCxnSpPr>
        <p:spPr>
          <a:xfrm>
            <a:off x="2686222" y="3510649"/>
            <a:ext cx="892550" cy="6467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5E3D3EB-9083-28C2-10D1-84BC5CAA6060}"/>
              </a:ext>
            </a:extLst>
          </p:cNvPr>
          <p:cNvGrpSpPr/>
          <p:nvPr/>
        </p:nvGrpSpPr>
        <p:grpSpPr>
          <a:xfrm>
            <a:off x="819478" y="2457121"/>
            <a:ext cx="1805497" cy="1510240"/>
            <a:chOff x="343529" y="5061156"/>
            <a:chExt cx="1805497" cy="1510240"/>
          </a:xfrm>
        </p:grpSpPr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04916F90-A8BC-1EC7-880D-DBEA9C9111BD}"/>
                </a:ext>
              </a:extLst>
            </p:cNvPr>
            <p:cNvSpPr/>
            <p:nvPr/>
          </p:nvSpPr>
          <p:spPr>
            <a:xfrm>
              <a:off x="637178" y="5205076"/>
              <a:ext cx="1296000" cy="1296000"/>
            </a:xfrm>
            <a:prstGeom prst="ellipse">
              <a:avLst/>
            </a:prstGeom>
            <a:solidFill>
              <a:srgbClr val="E2F5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D9F541D5-B62F-877D-0792-B184AEA496C2}"/>
                </a:ext>
              </a:extLst>
            </p:cNvPr>
            <p:cNvSpPr/>
            <p:nvPr/>
          </p:nvSpPr>
          <p:spPr>
            <a:xfrm>
              <a:off x="565026" y="5809908"/>
              <a:ext cx="1584000" cy="33127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flexible </a:t>
              </a:r>
              <a:r>
                <a:rPr kumimoji="0" lang="en-GB" sz="2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scalability</a:t>
              </a: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6827385-F0D8-E362-99DC-8EEF4EFF3AFC}"/>
                </a:ext>
              </a:extLst>
            </p:cNvPr>
            <p:cNvSpPr/>
            <p:nvPr/>
          </p:nvSpPr>
          <p:spPr>
            <a:xfrm>
              <a:off x="343529" y="6205559"/>
              <a:ext cx="1625505" cy="3658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drive sub-modules by </a:t>
              </a:r>
              <a:b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</a:b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 e-motor + gearbox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0259C975-050B-6678-6FD1-147A1198A4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997074" y="5061156"/>
              <a:ext cx="864000" cy="864000"/>
            </a:xfrm>
            <a:prstGeom prst="rect">
              <a:avLst/>
            </a:prstGeom>
          </p:spPr>
        </p:pic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E3551C9-8D9A-C1EB-1CE2-20EA24B02DFE}"/>
              </a:ext>
            </a:extLst>
          </p:cNvPr>
          <p:cNvSpPr/>
          <p:nvPr/>
        </p:nvSpPr>
        <p:spPr>
          <a:xfrm>
            <a:off x="2012299" y="5580861"/>
            <a:ext cx="7556939" cy="28926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kern="0">
                <a:solidFill>
                  <a:schemeClr val="bg2">
                    <a:lumMod val="75000"/>
                  </a:schemeClr>
                </a:solidFill>
                <a:latin typeface="Bosch Office Sans"/>
              </a:rPr>
              <a:t>Bosch is currently in the development phase for </a:t>
            </a: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the compact gas compressor. All technical specifications and milestones given in this informational document are development objectives.</a:t>
            </a:r>
          </a:p>
        </p:txBody>
      </p:sp>
    </p:spTree>
    <p:extLst>
      <p:ext uri="{BB962C8B-B14F-4D97-AF65-F5344CB8AC3E}">
        <p14:creationId xmlns:p14="http://schemas.microsoft.com/office/powerpoint/2010/main" val="4071209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89294E0-31B3-B567-568D-C511F2D405D3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0339" y="3974926"/>
            <a:ext cx="360000" cy="297931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193EB93-F07F-D26D-55C9-448FB59EE34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207819" y="4013799"/>
            <a:ext cx="1285105" cy="309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+       +       + …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629D086-D3AE-FBBD-D97E-FD1483C71B6A}"/>
              </a:ext>
            </a:extLst>
          </p:cNvPr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15952" y="2894806"/>
            <a:ext cx="828900" cy="685987"/>
          </a:xfrm>
          <a:prstGeom prst="rect">
            <a:avLst/>
          </a:prstGeom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15C6F9AD-99E2-E183-EBAF-8DDB024C195E}"/>
              </a:ext>
            </a:extLst>
          </p:cNvPr>
          <p:cNvCxnSpPr>
            <a:cxnSpLocks/>
          </p:cNvCxnSpPr>
          <p:nvPr/>
        </p:nvCxnSpPr>
        <p:spPr>
          <a:xfrm>
            <a:off x="4548708" y="3254846"/>
            <a:ext cx="432000" cy="0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tailEnd type="triangle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5D895B50-14EE-95ED-CD8A-9FD49EAA649D}"/>
              </a:ext>
            </a:extLst>
          </p:cNvPr>
          <p:cNvCxnSpPr/>
          <p:nvPr/>
        </p:nvCxnSpPr>
        <p:spPr>
          <a:xfrm>
            <a:off x="4548708" y="2174726"/>
            <a:ext cx="0" cy="2160000"/>
          </a:xfrm>
          <a:prstGeom prst="line">
            <a:avLst/>
          </a:prstGeom>
          <a:ln w="38100" cap="rnd">
            <a:solidFill>
              <a:srgbClr val="000000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E208F18-ECA2-7BDB-3055-CB75F47BB325}"/>
              </a:ext>
            </a:extLst>
          </p:cNvPr>
          <p:cNvCxnSpPr>
            <a:cxnSpLocks/>
          </p:cNvCxnSpPr>
          <p:nvPr/>
        </p:nvCxnSpPr>
        <p:spPr>
          <a:xfrm>
            <a:off x="4260708" y="4334966"/>
            <a:ext cx="288000" cy="0"/>
          </a:xfrm>
          <a:prstGeom prst="line">
            <a:avLst/>
          </a:prstGeom>
          <a:ln w="38100" cap="rnd">
            <a:solidFill>
              <a:srgbClr val="000000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B5D6D907-1A5C-5312-4380-8811E39BBA05}"/>
              </a:ext>
            </a:extLst>
          </p:cNvPr>
          <p:cNvCxnSpPr>
            <a:cxnSpLocks/>
          </p:cNvCxnSpPr>
          <p:nvPr/>
        </p:nvCxnSpPr>
        <p:spPr>
          <a:xfrm>
            <a:off x="4260708" y="2174726"/>
            <a:ext cx="288000" cy="0"/>
          </a:xfrm>
          <a:prstGeom prst="line">
            <a:avLst/>
          </a:prstGeom>
          <a:ln w="38100" cap="rnd">
            <a:solidFill>
              <a:srgbClr val="000000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613B64CD-7520-D367-9451-41A8AC5F3C4D}"/>
              </a:ext>
            </a:extLst>
          </p:cNvPr>
          <p:cNvCxnSpPr>
            <a:cxnSpLocks/>
          </p:cNvCxnSpPr>
          <p:nvPr/>
        </p:nvCxnSpPr>
        <p:spPr>
          <a:xfrm>
            <a:off x="6348908" y="2822798"/>
            <a:ext cx="432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sp>
        <p:nvSpPr>
          <p:cNvPr id="46" name="Grafik 88">
            <a:extLst>
              <a:ext uri="{FF2B5EF4-FFF2-40B4-BE49-F238E27FC236}">
                <a16:creationId xmlns:a16="http://schemas.microsoft.com/office/drawing/2014/main" id="{F3704C1B-F06D-847A-4D3B-6AD462083902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8486097" y="2039735"/>
            <a:ext cx="640000" cy="288000"/>
          </a:xfrm>
          <a:custGeom>
            <a:avLst/>
            <a:gdLst>
              <a:gd name="connsiteX0" fmla="*/ 1524000 w 1524000"/>
              <a:gd name="connsiteY0" fmla="*/ 266700 h 685800"/>
              <a:gd name="connsiteX1" fmla="*/ 1257300 w 1524000"/>
              <a:gd name="connsiteY1" fmla="*/ 0 h 685800"/>
              <a:gd name="connsiteX2" fmla="*/ 0 w 1524000"/>
              <a:gd name="connsiteY2" fmla="*/ 0 h 685800"/>
              <a:gd name="connsiteX3" fmla="*/ 0 w 1524000"/>
              <a:gd name="connsiteY3" fmla="*/ 609600 h 685800"/>
              <a:gd name="connsiteX4" fmla="*/ 159068 w 1524000"/>
              <a:gd name="connsiteY4" fmla="*/ 609600 h 685800"/>
              <a:gd name="connsiteX5" fmla="*/ 266700 w 1524000"/>
              <a:gd name="connsiteY5" fmla="*/ 685800 h 685800"/>
              <a:gd name="connsiteX6" fmla="*/ 374333 w 1524000"/>
              <a:gd name="connsiteY6" fmla="*/ 609600 h 685800"/>
              <a:gd name="connsiteX7" fmla="*/ 463867 w 1524000"/>
              <a:gd name="connsiteY7" fmla="*/ 609600 h 685800"/>
              <a:gd name="connsiteX8" fmla="*/ 571500 w 1524000"/>
              <a:gd name="connsiteY8" fmla="*/ 685800 h 685800"/>
              <a:gd name="connsiteX9" fmla="*/ 679133 w 1524000"/>
              <a:gd name="connsiteY9" fmla="*/ 609600 h 685800"/>
              <a:gd name="connsiteX10" fmla="*/ 1149668 w 1524000"/>
              <a:gd name="connsiteY10" fmla="*/ 609600 h 685800"/>
              <a:gd name="connsiteX11" fmla="*/ 1257300 w 1524000"/>
              <a:gd name="connsiteY11" fmla="*/ 685800 h 685800"/>
              <a:gd name="connsiteX12" fmla="*/ 1364933 w 1524000"/>
              <a:gd name="connsiteY12" fmla="*/ 609600 h 685800"/>
              <a:gd name="connsiteX13" fmla="*/ 1524000 w 1524000"/>
              <a:gd name="connsiteY13" fmla="*/ 609600 h 685800"/>
              <a:gd name="connsiteX14" fmla="*/ 1524000 w 1524000"/>
              <a:gd name="connsiteY14" fmla="*/ 266700 h 685800"/>
              <a:gd name="connsiteX15" fmla="*/ 1447800 w 1524000"/>
              <a:gd name="connsiteY15" fmla="*/ 266700 h 685800"/>
              <a:gd name="connsiteX16" fmla="*/ 1447800 w 1524000"/>
              <a:gd name="connsiteY16" fmla="*/ 304800 h 685800"/>
              <a:gd name="connsiteX17" fmla="*/ 1257300 w 1524000"/>
              <a:gd name="connsiteY17" fmla="*/ 304800 h 685800"/>
              <a:gd name="connsiteX18" fmla="*/ 1257300 w 1524000"/>
              <a:gd name="connsiteY18" fmla="*/ 76200 h 685800"/>
              <a:gd name="connsiteX19" fmla="*/ 1447800 w 1524000"/>
              <a:gd name="connsiteY19" fmla="*/ 266700 h 685800"/>
              <a:gd name="connsiteX20" fmla="*/ 266700 w 1524000"/>
              <a:gd name="connsiteY20" fmla="*/ 609600 h 685800"/>
              <a:gd name="connsiteX21" fmla="*/ 228600 w 1524000"/>
              <a:gd name="connsiteY21" fmla="*/ 571500 h 685800"/>
              <a:gd name="connsiteX22" fmla="*/ 266700 w 1524000"/>
              <a:gd name="connsiteY22" fmla="*/ 533400 h 685800"/>
              <a:gd name="connsiteX23" fmla="*/ 304800 w 1524000"/>
              <a:gd name="connsiteY23" fmla="*/ 571500 h 685800"/>
              <a:gd name="connsiteX24" fmla="*/ 266700 w 1524000"/>
              <a:gd name="connsiteY24" fmla="*/ 609600 h 685800"/>
              <a:gd name="connsiteX25" fmla="*/ 571500 w 1524000"/>
              <a:gd name="connsiteY25" fmla="*/ 609600 h 685800"/>
              <a:gd name="connsiteX26" fmla="*/ 533400 w 1524000"/>
              <a:gd name="connsiteY26" fmla="*/ 571500 h 685800"/>
              <a:gd name="connsiteX27" fmla="*/ 571500 w 1524000"/>
              <a:gd name="connsiteY27" fmla="*/ 533400 h 685800"/>
              <a:gd name="connsiteX28" fmla="*/ 609600 w 1524000"/>
              <a:gd name="connsiteY28" fmla="*/ 571500 h 685800"/>
              <a:gd name="connsiteX29" fmla="*/ 571500 w 1524000"/>
              <a:gd name="connsiteY29" fmla="*/ 609600 h 685800"/>
              <a:gd name="connsiteX30" fmla="*/ 971550 w 1524000"/>
              <a:gd name="connsiteY30" fmla="*/ 533400 h 685800"/>
              <a:gd name="connsiteX31" fmla="*/ 679133 w 1524000"/>
              <a:gd name="connsiteY31" fmla="*/ 533400 h 685800"/>
              <a:gd name="connsiteX32" fmla="*/ 571500 w 1524000"/>
              <a:gd name="connsiteY32" fmla="*/ 457200 h 685800"/>
              <a:gd name="connsiteX33" fmla="*/ 463867 w 1524000"/>
              <a:gd name="connsiteY33" fmla="*/ 533400 h 685800"/>
              <a:gd name="connsiteX34" fmla="*/ 374333 w 1524000"/>
              <a:gd name="connsiteY34" fmla="*/ 533400 h 685800"/>
              <a:gd name="connsiteX35" fmla="*/ 266700 w 1524000"/>
              <a:gd name="connsiteY35" fmla="*/ 457200 h 685800"/>
              <a:gd name="connsiteX36" fmla="*/ 159068 w 1524000"/>
              <a:gd name="connsiteY36" fmla="*/ 533400 h 685800"/>
              <a:gd name="connsiteX37" fmla="*/ 76200 w 1524000"/>
              <a:gd name="connsiteY37" fmla="*/ 533400 h 685800"/>
              <a:gd name="connsiteX38" fmla="*/ 76200 w 1524000"/>
              <a:gd name="connsiteY38" fmla="*/ 76200 h 685800"/>
              <a:gd name="connsiteX39" fmla="*/ 1028700 w 1524000"/>
              <a:gd name="connsiteY39" fmla="*/ 76200 h 685800"/>
              <a:gd name="connsiteX40" fmla="*/ 1028700 w 1524000"/>
              <a:gd name="connsiteY40" fmla="*/ 533400 h 685800"/>
              <a:gd name="connsiteX41" fmla="*/ 971550 w 1524000"/>
              <a:gd name="connsiteY41" fmla="*/ 533400 h 685800"/>
              <a:gd name="connsiteX42" fmla="*/ 1257300 w 1524000"/>
              <a:gd name="connsiteY42" fmla="*/ 609600 h 685800"/>
              <a:gd name="connsiteX43" fmla="*/ 1219200 w 1524000"/>
              <a:gd name="connsiteY43" fmla="*/ 571500 h 685800"/>
              <a:gd name="connsiteX44" fmla="*/ 1257300 w 1524000"/>
              <a:gd name="connsiteY44" fmla="*/ 533400 h 685800"/>
              <a:gd name="connsiteX45" fmla="*/ 1295400 w 1524000"/>
              <a:gd name="connsiteY45" fmla="*/ 571500 h 685800"/>
              <a:gd name="connsiteX46" fmla="*/ 1257300 w 1524000"/>
              <a:gd name="connsiteY46" fmla="*/ 609600 h 685800"/>
              <a:gd name="connsiteX47" fmla="*/ 1364933 w 1524000"/>
              <a:gd name="connsiteY47" fmla="*/ 533400 h 685800"/>
              <a:gd name="connsiteX48" fmla="*/ 1257300 w 1524000"/>
              <a:gd name="connsiteY48" fmla="*/ 457200 h 685800"/>
              <a:gd name="connsiteX49" fmla="*/ 1149668 w 1524000"/>
              <a:gd name="connsiteY49" fmla="*/ 533400 h 685800"/>
              <a:gd name="connsiteX50" fmla="*/ 1104900 w 1524000"/>
              <a:gd name="connsiteY50" fmla="*/ 533400 h 685800"/>
              <a:gd name="connsiteX51" fmla="*/ 1104900 w 1524000"/>
              <a:gd name="connsiteY51" fmla="*/ 76200 h 685800"/>
              <a:gd name="connsiteX52" fmla="*/ 1181100 w 1524000"/>
              <a:gd name="connsiteY52" fmla="*/ 76200 h 685800"/>
              <a:gd name="connsiteX53" fmla="*/ 1181100 w 1524000"/>
              <a:gd name="connsiteY53" fmla="*/ 381000 h 685800"/>
              <a:gd name="connsiteX54" fmla="*/ 1447800 w 1524000"/>
              <a:gd name="connsiteY54" fmla="*/ 381000 h 685800"/>
              <a:gd name="connsiteX55" fmla="*/ 1447800 w 1524000"/>
              <a:gd name="connsiteY55" fmla="*/ 533400 h 685800"/>
              <a:gd name="connsiteX56" fmla="*/ 1364933 w 1524000"/>
              <a:gd name="connsiteY56" fmla="*/ 5334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524000" h="685800">
                <a:moveTo>
                  <a:pt x="1524000" y="266700"/>
                </a:moveTo>
                <a:cubicBezTo>
                  <a:pt x="1524000" y="132112"/>
                  <a:pt x="1391888" y="0"/>
                  <a:pt x="1257300" y="0"/>
                </a:cubicBezTo>
                <a:lnTo>
                  <a:pt x="0" y="0"/>
                </a:lnTo>
                <a:lnTo>
                  <a:pt x="0" y="609600"/>
                </a:lnTo>
                <a:lnTo>
                  <a:pt x="159068" y="609600"/>
                </a:lnTo>
                <a:cubicBezTo>
                  <a:pt x="174812" y="653920"/>
                  <a:pt x="217046" y="685800"/>
                  <a:pt x="266700" y="685800"/>
                </a:cubicBezTo>
                <a:cubicBezTo>
                  <a:pt x="316354" y="685800"/>
                  <a:pt x="358588" y="653920"/>
                  <a:pt x="374333" y="609600"/>
                </a:cubicBezTo>
                <a:lnTo>
                  <a:pt x="463867" y="609600"/>
                </a:lnTo>
                <a:cubicBezTo>
                  <a:pt x="479612" y="653920"/>
                  <a:pt x="521846" y="685800"/>
                  <a:pt x="571500" y="685800"/>
                </a:cubicBezTo>
                <a:cubicBezTo>
                  <a:pt x="621154" y="685800"/>
                  <a:pt x="663388" y="653920"/>
                  <a:pt x="679133" y="609600"/>
                </a:cubicBezTo>
                <a:lnTo>
                  <a:pt x="1149668" y="609600"/>
                </a:lnTo>
                <a:cubicBezTo>
                  <a:pt x="1165412" y="653920"/>
                  <a:pt x="1207646" y="685800"/>
                  <a:pt x="1257300" y="685800"/>
                </a:cubicBezTo>
                <a:cubicBezTo>
                  <a:pt x="1306954" y="685800"/>
                  <a:pt x="1349188" y="653920"/>
                  <a:pt x="1364933" y="609600"/>
                </a:cubicBezTo>
                <a:lnTo>
                  <a:pt x="1524000" y="609600"/>
                </a:lnTo>
                <a:lnTo>
                  <a:pt x="1524000" y="266700"/>
                </a:lnTo>
                <a:close/>
                <a:moveTo>
                  <a:pt x="1447800" y="266700"/>
                </a:moveTo>
                <a:lnTo>
                  <a:pt x="1447800" y="304800"/>
                </a:lnTo>
                <a:lnTo>
                  <a:pt x="1257300" y="304800"/>
                </a:lnTo>
                <a:lnTo>
                  <a:pt x="1257300" y="76200"/>
                </a:lnTo>
                <a:cubicBezTo>
                  <a:pt x="1349883" y="76200"/>
                  <a:pt x="1447800" y="174117"/>
                  <a:pt x="1447800" y="266700"/>
                </a:cubicBezTo>
                <a:close/>
                <a:moveTo>
                  <a:pt x="266700" y="609600"/>
                </a:moveTo>
                <a:cubicBezTo>
                  <a:pt x="245688" y="609600"/>
                  <a:pt x="228600" y="592512"/>
                  <a:pt x="228600" y="571500"/>
                </a:cubicBezTo>
                <a:cubicBezTo>
                  <a:pt x="228600" y="550488"/>
                  <a:pt x="245688" y="533400"/>
                  <a:pt x="266700" y="533400"/>
                </a:cubicBezTo>
                <a:cubicBezTo>
                  <a:pt x="287712" y="533400"/>
                  <a:pt x="304800" y="550488"/>
                  <a:pt x="304800" y="571500"/>
                </a:cubicBezTo>
                <a:cubicBezTo>
                  <a:pt x="304800" y="592512"/>
                  <a:pt x="287712" y="609600"/>
                  <a:pt x="266700" y="609600"/>
                </a:cubicBezTo>
                <a:close/>
                <a:moveTo>
                  <a:pt x="571500" y="609600"/>
                </a:moveTo>
                <a:cubicBezTo>
                  <a:pt x="550488" y="609600"/>
                  <a:pt x="533400" y="592512"/>
                  <a:pt x="533400" y="571500"/>
                </a:cubicBezTo>
                <a:cubicBezTo>
                  <a:pt x="533400" y="550488"/>
                  <a:pt x="550488" y="533400"/>
                  <a:pt x="571500" y="533400"/>
                </a:cubicBezTo>
                <a:cubicBezTo>
                  <a:pt x="592512" y="533400"/>
                  <a:pt x="609600" y="550488"/>
                  <a:pt x="609600" y="571500"/>
                </a:cubicBezTo>
                <a:cubicBezTo>
                  <a:pt x="609600" y="592512"/>
                  <a:pt x="592512" y="609600"/>
                  <a:pt x="571500" y="609600"/>
                </a:cubicBezTo>
                <a:close/>
                <a:moveTo>
                  <a:pt x="971550" y="533400"/>
                </a:moveTo>
                <a:lnTo>
                  <a:pt x="679133" y="533400"/>
                </a:lnTo>
                <a:cubicBezTo>
                  <a:pt x="663388" y="489080"/>
                  <a:pt x="621154" y="457200"/>
                  <a:pt x="571500" y="457200"/>
                </a:cubicBezTo>
                <a:cubicBezTo>
                  <a:pt x="521846" y="457200"/>
                  <a:pt x="479612" y="489080"/>
                  <a:pt x="463867" y="533400"/>
                </a:cubicBezTo>
                <a:lnTo>
                  <a:pt x="374333" y="533400"/>
                </a:lnTo>
                <a:cubicBezTo>
                  <a:pt x="358588" y="489080"/>
                  <a:pt x="316354" y="457200"/>
                  <a:pt x="266700" y="457200"/>
                </a:cubicBezTo>
                <a:cubicBezTo>
                  <a:pt x="217046" y="457200"/>
                  <a:pt x="174812" y="489080"/>
                  <a:pt x="159068" y="533400"/>
                </a:cubicBezTo>
                <a:lnTo>
                  <a:pt x="76200" y="533400"/>
                </a:lnTo>
                <a:lnTo>
                  <a:pt x="76200" y="76200"/>
                </a:lnTo>
                <a:lnTo>
                  <a:pt x="1028700" y="76200"/>
                </a:lnTo>
                <a:lnTo>
                  <a:pt x="1028700" y="533400"/>
                </a:lnTo>
                <a:lnTo>
                  <a:pt x="971550" y="533400"/>
                </a:lnTo>
                <a:close/>
                <a:moveTo>
                  <a:pt x="1257300" y="609600"/>
                </a:moveTo>
                <a:cubicBezTo>
                  <a:pt x="1236288" y="609600"/>
                  <a:pt x="1219200" y="592512"/>
                  <a:pt x="1219200" y="571500"/>
                </a:cubicBezTo>
                <a:cubicBezTo>
                  <a:pt x="1219200" y="550488"/>
                  <a:pt x="1236288" y="533400"/>
                  <a:pt x="1257300" y="533400"/>
                </a:cubicBezTo>
                <a:cubicBezTo>
                  <a:pt x="1278312" y="533400"/>
                  <a:pt x="1295400" y="550488"/>
                  <a:pt x="1295400" y="571500"/>
                </a:cubicBezTo>
                <a:cubicBezTo>
                  <a:pt x="1295400" y="592512"/>
                  <a:pt x="1278312" y="609600"/>
                  <a:pt x="1257300" y="609600"/>
                </a:cubicBezTo>
                <a:close/>
                <a:moveTo>
                  <a:pt x="1364933" y="533400"/>
                </a:moveTo>
                <a:cubicBezTo>
                  <a:pt x="1349188" y="489080"/>
                  <a:pt x="1306954" y="457200"/>
                  <a:pt x="1257300" y="457200"/>
                </a:cubicBezTo>
                <a:cubicBezTo>
                  <a:pt x="1207646" y="457200"/>
                  <a:pt x="1165412" y="489080"/>
                  <a:pt x="1149668" y="533400"/>
                </a:cubicBezTo>
                <a:lnTo>
                  <a:pt x="1104900" y="533400"/>
                </a:lnTo>
                <a:lnTo>
                  <a:pt x="1104900" y="76200"/>
                </a:lnTo>
                <a:lnTo>
                  <a:pt x="1181100" y="76200"/>
                </a:lnTo>
                <a:lnTo>
                  <a:pt x="1181100" y="381000"/>
                </a:lnTo>
                <a:lnTo>
                  <a:pt x="1447800" y="381000"/>
                </a:lnTo>
                <a:lnTo>
                  <a:pt x="1447800" y="533400"/>
                </a:lnTo>
                <a:lnTo>
                  <a:pt x="1364933" y="533400"/>
                </a:lnTo>
                <a:close/>
              </a:path>
            </a:pathLst>
          </a:custGeom>
          <a:solidFill>
            <a:srgbClr val="00884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B0801765-9C6A-9BE3-09A2-F419704ABCF2}"/>
              </a:ext>
            </a:extLst>
          </p:cNvPr>
          <p:cNvGrpSpPr/>
          <p:nvPr/>
        </p:nvGrpSpPr>
        <p:grpSpPr>
          <a:xfrm>
            <a:off x="3684500" y="3830910"/>
            <a:ext cx="288000" cy="720080"/>
            <a:chOff x="6420948" y="3445346"/>
            <a:chExt cx="288000" cy="720080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E9F7E37A-510F-5EC2-58A3-C046AA677747}"/>
                </a:ext>
              </a:extLst>
            </p:cNvPr>
            <p:cNvSpPr/>
            <p:nvPr/>
          </p:nvSpPr>
          <p:spPr>
            <a:xfrm>
              <a:off x="6492924" y="3445346"/>
              <a:ext cx="144000" cy="108000"/>
            </a:xfrm>
            <a:prstGeom prst="rect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49" name="Rechteck: abgerundete Ecken 48">
              <a:extLst>
                <a:ext uri="{FF2B5EF4-FFF2-40B4-BE49-F238E27FC236}">
                  <a16:creationId xmlns:a16="http://schemas.microsoft.com/office/drawing/2014/main" id="{87379DB4-ED1B-528B-C942-39163026420E}"/>
                </a:ext>
              </a:extLst>
            </p:cNvPr>
            <p:cNvSpPr/>
            <p:nvPr/>
          </p:nvSpPr>
          <p:spPr>
            <a:xfrm>
              <a:off x="6420948" y="3517354"/>
              <a:ext cx="288000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H</a:t>
              </a:r>
              <a:r>
                <a:rPr kumimoji="0" lang="en-GB" sz="1800" b="0" i="0" u="none" strike="noStrike" kern="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2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67C15A9E-5138-E04D-AC3C-044457E98C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56924" y="4093426"/>
              <a:ext cx="36000" cy="72000"/>
            </a:xfrm>
            <a:prstGeom prst="line">
              <a:avLst/>
            </a:prstGeom>
            <a:ln w="38100" cap="rnd">
              <a:solidFill>
                <a:srgbClr val="000000"/>
              </a:solidFill>
              <a:round/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7D5C5F20-2F7D-11B5-8E10-B1DDDE997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36940" y="4093418"/>
              <a:ext cx="36008" cy="72000"/>
            </a:xfrm>
            <a:prstGeom prst="line">
              <a:avLst/>
            </a:prstGeom>
            <a:ln w="38100" cap="rnd">
              <a:solidFill>
                <a:srgbClr val="000000"/>
              </a:solidFill>
              <a:round/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</p:cxnSp>
      </p:grpSp>
      <p:pic>
        <p:nvPicPr>
          <p:cNvPr id="58" name="Grafik 57">
            <a:extLst>
              <a:ext uri="{FF2B5EF4-FFF2-40B4-BE49-F238E27FC236}">
                <a16:creationId xmlns:a16="http://schemas.microsoft.com/office/drawing/2014/main" id="{9244FFEA-714C-370B-F614-EFCC3F9611DB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0660" y="1958702"/>
            <a:ext cx="576000" cy="576000"/>
          </a:xfrm>
          <a:prstGeom prst="rect">
            <a:avLst/>
          </a:prstGeom>
        </p:spPr>
      </p:pic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4E81B5-45BE-1E1C-E274-2D135D26292F}"/>
              </a:ext>
            </a:extLst>
          </p:cNvPr>
          <p:cNvCxnSpPr>
            <a:cxnSpLocks/>
          </p:cNvCxnSpPr>
          <p:nvPr/>
        </p:nvCxnSpPr>
        <p:spPr>
          <a:xfrm>
            <a:off x="7573044" y="4333970"/>
            <a:ext cx="720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pic>
        <p:nvPicPr>
          <p:cNvPr id="60" name="Grafik 59">
            <a:extLst>
              <a:ext uri="{FF2B5EF4-FFF2-40B4-BE49-F238E27FC236}">
                <a16:creationId xmlns:a16="http://schemas.microsoft.com/office/drawing/2014/main" id="{50625718-D9CC-8283-4959-4F7AF494BD88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1924" y="2462822"/>
            <a:ext cx="576000" cy="57600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03C211FD-2438-DE1B-DBDB-01E297B99DED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7948" y="2462758"/>
            <a:ext cx="576000" cy="576000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86B4CDA5-2306-A3F8-7B38-F1426D226BB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987948" y="2714798"/>
            <a:ext cx="71860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848C0B49-9DEA-A02B-3C3B-E009E0DA7BC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204056" y="2714798"/>
            <a:ext cx="71860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0968085E-2F29-DD5C-E802-14C8121964D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564645" y="3038846"/>
            <a:ext cx="1296221" cy="216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igh pressure storage (stationary)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8EA91F84-EEA6-290B-58A9-0930BCDB5CB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156996" y="2066734"/>
            <a:ext cx="936000" cy="18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2 Transport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0941C51A-8024-1AFE-DC42-7D3977133638}"/>
              </a:ext>
            </a:extLst>
          </p:cNvPr>
          <p:cNvCxnSpPr>
            <a:cxnSpLocks/>
          </p:cNvCxnSpPr>
          <p:nvPr/>
        </p:nvCxnSpPr>
        <p:spPr>
          <a:xfrm>
            <a:off x="8148996" y="1382638"/>
            <a:ext cx="288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7A60AE88-73DC-E566-9A6F-07872D07124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324572" y="2606790"/>
            <a:ext cx="1044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2 generation</a:t>
            </a:r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F513A94C-BC43-2B01-5DD5-2AB255EAB708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3598" y="4046934"/>
            <a:ext cx="576000" cy="576000"/>
          </a:xfrm>
          <a:prstGeom prst="rect">
            <a:avLst/>
          </a:prstGeom>
        </p:spPr>
      </p:pic>
      <p:sp>
        <p:nvSpPr>
          <p:cNvPr id="69" name="Rechteck 68">
            <a:extLst>
              <a:ext uri="{FF2B5EF4-FFF2-40B4-BE49-F238E27FC236}">
                <a16:creationId xmlns:a16="http://schemas.microsoft.com/office/drawing/2014/main" id="{C3416B98-8BF8-B5FA-7369-3F8F1F2498E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48908" y="4617035"/>
            <a:ext cx="1800000" cy="2979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mall filling stations (incl. high pressure storage tanks)</a:t>
            </a:r>
          </a:p>
        </p:txBody>
      </p: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CF89B925-A236-1B11-55EE-B7CEA8B7ED15}"/>
              </a:ext>
            </a:extLst>
          </p:cNvPr>
          <p:cNvCxnSpPr>
            <a:cxnSpLocks/>
          </p:cNvCxnSpPr>
          <p:nvPr/>
        </p:nvCxnSpPr>
        <p:spPr>
          <a:xfrm>
            <a:off x="7573044" y="2822798"/>
            <a:ext cx="576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non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F8FB4B8-FE80-D4C6-F4A5-2650940FEA86}"/>
              </a:ext>
            </a:extLst>
          </p:cNvPr>
          <p:cNvCxnSpPr>
            <a:cxnSpLocks/>
          </p:cNvCxnSpPr>
          <p:nvPr/>
        </p:nvCxnSpPr>
        <p:spPr>
          <a:xfrm flipV="1">
            <a:off x="8148964" y="1382822"/>
            <a:ext cx="0" cy="1656000"/>
          </a:xfrm>
          <a:prstGeom prst="line">
            <a:avLst/>
          </a:prstGeom>
          <a:ln w="38100" cap="rnd">
            <a:solidFill>
              <a:srgbClr val="00884A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EA18F52-B39E-1846-6F97-A28B1DA32359}"/>
              </a:ext>
            </a:extLst>
          </p:cNvPr>
          <p:cNvCxnSpPr>
            <a:cxnSpLocks/>
          </p:cNvCxnSpPr>
          <p:nvPr/>
        </p:nvCxnSpPr>
        <p:spPr>
          <a:xfrm>
            <a:off x="2748428" y="2174710"/>
            <a:ext cx="720000" cy="0"/>
          </a:xfrm>
          <a:prstGeom prst="line">
            <a:avLst/>
          </a:prstGeom>
          <a:ln w="38100" cap="rnd">
            <a:solidFill>
              <a:srgbClr val="71767C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37CB215F-4BF9-A0C2-1D85-3017C73D0CE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436996" y="1445604"/>
            <a:ext cx="1908000" cy="36908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tationary power generation (energy/heat coupling)</a:t>
            </a:r>
          </a:p>
        </p:txBody>
      </p: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FD41DDD2-AADB-C0F9-F3B7-7D7BBF1860DA}"/>
              </a:ext>
            </a:extLst>
          </p:cNvPr>
          <p:cNvCxnSpPr>
            <a:cxnSpLocks/>
          </p:cNvCxnSpPr>
          <p:nvPr/>
        </p:nvCxnSpPr>
        <p:spPr>
          <a:xfrm>
            <a:off x="8148964" y="2174726"/>
            <a:ext cx="288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pic>
        <p:nvPicPr>
          <p:cNvPr id="75" name="Grafik 74">
            <a:extLst>
              <a:ext uri="{FF2B5EF4-FFF2-40B4-BE49-F238E27FC236}">
                <a16:creationId xmlns:a16="http://schemas.microsoft.com/office/drawing/2014/main" id="{3F56BCBF-FF99-3AF0-E2F4-EDCF1E328D14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1116" y="878582"/>
            <a:ext cx="576000" cy="576000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CC4CB2D2-EAA9-1E80-3FCB-F3347CD3E370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6995" y="929072"/>
            <a:ext cx="576000" cy="576000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0C4367E3-BDD2-6F66-973A-8C1529AF0851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53" y="1131025"/>
            <a:ext cx="576000" cy="576000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DA986063-975C-4DBD-E298-FC86B8C97AF3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7012" y="4046934"/>
            <a:ext cx="576000" cy="576000"/>
          </a:xfrm>
          <a:prstGeom prst="rect">
            <a:avLst/>
          </a:prstGeom>
        </p:spPr>
      </p:pic>
      <p:sp>
        <p:nvSpPr>
          <p:cNvPr id="79" name="Rechteck 78">
            <a:extLst>
              <a:ext uri="{FF2B5EF4-FFF2-40B4-BE49-F238E27FC236}">
                <a16:creationId xmlns:a16="http://schemas.microsoft.com/office/drawing/2014/main" id="{420615C0-C542-B1D1-CF9F-BBD362E9370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28883" y="3578918"/>
            <a:ext cx="1476003" cy="3093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chemeClr val="accent1"/>
                </a:solidFill>
              </a:rPr>
              <a:t>≥</a:t>
            </a: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11 </a:t>
            </a: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Nm³/h (1kg/h) per compressor unit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6BFCB76B-D45C-C25E-E0E8-A9CDE4577F46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5552" y="3835787"/>
            <a:ext cx="576000" cy="576000"/>
          </a:xfrm>
          <a:prstGeom prst="rect">
            <a:avLst/>
          </a:prstGeom>
        </p:spPr>
      </p:pic>
      <p:sp>
        <p:nvSpPr>
          <p:cNvPr id="81" name="Rechteck 80">
            <a:extLst>
              <a:ext uri="{FF2B5EF4-FFF2-40B4-BE49-F238E27FC236}">
                <a16:creationId xmlns:a16="http://schemas.microsoft.com/office/drawing/2014/main" id="{A38AADE6-338A-F8B3-33CE-A9A90AD2F37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80881" y="4622998"/>
            <a:ext cx="2556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private fleets, fork lifter, agriculture</a:t>
            </a: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5536B111-2481-7302-009E-7F77408F6C09}"/>
              </a:ext>
            </a:extLst>
          </p:cNvPr>
          <p:cNvCxnSpPr>
            <a:cxnSpLocks/>
          </p:cNvCxnSpPr>
          <p:nvPr/>
        </p:nvCxnSpPr>
        <p:spPr>
          <a:xfrm>
            <a:off x="9445284" y="2606774"/>
            <a:ext cx="288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CA2CBA9A-E85D-6A92-D112-A535EF098530}"/>
              </a:ext>
            </a:extLst>
          </p:cNvPr>
          <p:cNvCxnSpPr>
            <a:cxnSpLocks/>
          </p:cNvCxnSpPr>
          <p:nvPr/>
        </p:nvCxnSpPr>
        <p:spPr>
          <a:xfrm>
            <a:off x="9157220" y="3038822"/>
            <a:ext cx="288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non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0D480F78-89E6-0519-FD5F-BD40608C73F2}"/>
              </a:ext>
            </a:extLst>
          </p:cNvPr>
          <p:cNvCxnSpPr>
            <a:cxnSpLocks/>
          </p:cNvCxnSpPr>
          <p:nvPr/>
        </p:nvCxnSpPr>
        <p:spPr>
          <a:xfrm flipV="1">
            <a:off x="9445252" y="2606774"/>
            <a:ext cx="0" cy="864000"/>
          </a:xfrm>
          <a:prstGeom prst="line">
            <a:avLst/>
          </a:prstGeom>
          <a:ln w="38100" cap="rnd">
            <a:solidFill>
              <a:srgbClr val="00884A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F099F732-0995-278F-4378-349A063BEF74}"/>
              </a:ext>
            </a:extLst>
          </p:cNvPr>
          <p:cNvCxnSpPr>
            <a:cxnSpLocks/>
          </p:cNvCxnSpPr>
          <p:nvPr/>
        </p:nvCxnSpPr>
        <p:spPr>
          <a:xfrm>
            <a:off x="9445252" y="3470870"/>
            <a:ext cx="288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86E808-EE93-A811-BAFE-D46C9D7D53E5}"/>
              </a:ext>
            </a:extLst>
          </p:cNvPr>
          <p:cNvCxnSpPr>
            <a:cxnSpLocks/>
          </p:cNvCxnSpPr>
          <p:nvPr/>
        </p:nvCxnSpPr>
        <p:spPr>
          <a:xfrm>
            <a:off x="2028508" y="1450826"/>
            <a:ext cx="720000" cy="0"/>
          </a:xfrm>
          <a:prstGeom prst="line">
            <a:avLst/>
          </a:prstGeom>
          <a:ln w="38100" cap="rnd">
            <a:solidFill>
              <a:srgbClr val="71767C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30839878-C0FF-B29F-D7EB-597CA6E344FA}"/>
              </a:ext>
            </a:extLst>
          </p:cNvPr>
          <p:cNvCxnSpPr>
            <a:cxnSpLocks/>
          </p:cNvCxnSpPr>
          <p:nvPr/>
        </p:nvCxnSpPr>
        <p:spPr>
          <a:xfrm>
            <a:off x="3828628" y="2894878"/>
            <a:ext cx="0" cy="720000"/>
          </a:xfrm>
          <a:prstGeom prst="line">
            <a:avLst/>
          </a:prstGeom>
          <a:ln w="38100" cap="rnd">
            <a:solidFill>
              <a:srgbClr val="71767C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pic>
        <p:nvPicPr>
          <p:cNvPr id="88" name="Grafik 87">
            <a:extLst>
              <a:ext uri="{FF2B5EF4-FFF2-40B4-BE49-F238E27FC236}">
                <a16:creationId xmlns:a16="http://schemas.microsoft.com/office/drawing/2014/main" id="{BD46BD73-9C8B-37F0-2184-AFB1FF69C58F}"/>
              </a:ext>
            </a:extLst>
          </p:cNvPr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3356" y="2718415"/>
            <a:ext cx="576000" cy="576000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B65741A9-491D-B556-006B-72FE72BFD33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941196" y="2998344"/>
            <a:ext cx="144016" cy="1442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D6981E4-5F9D-CF4D-0AEB-98CD58C6972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148961" y="3254846"/>
            <a:ext cx="1080155" cy="432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(local) H2 supply network</a:t>
            </a:r>
          </a:p>
        </p:txBody>
      </p:sp>
      <p:pic>
        <p:nvPicPr>
          <p:cNvPr id="91" name="Grafik 90">
            <a:extLst>
              <a:ext uri="{FF2B5EF4-FFF2-40B4-BE49-F238E27FC236}">
                <a16:creationId xmlns:a16="http://schemas.microsoft.com/office/drawing/2014/main" id="{D41CF386-C533-C29E-E382-6ED7718D052F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3284" y="2246734"/>
            <a:ext cx="576000" cy="576000"/>
          </a:xfrm>
          <a:prstGeom prst="rect">
            <a:avLst/>
          </a:prstGeom>
        </p:spPr>
      </p:pic>
      <p:sp>
        <p:nvSpPr>
          <p:cNvPr id="92" name="Rechteck 91">
            <a:extLst>
              <a:ext uri="{FF2B5EF4-FFF2-40B4-BE49-F238E27FC236}">
                <a16:creationId xmlns:a16="http://schemas.microsoft.com/office/drawing/2014/main" id="{5E88D4BD-B66C-5293-56BD-5CBED7C55E9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49412" y="2825915"/>
            <a:ext cx="1188000" cy="3060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laboratories &amp; testing facilities</a:t>
            </a:r>
          </a:p>
        </p:txBody>
      </p:sp>
      <p:pic>
        <p:nvPicPr>
          <p:cNvPr id="93" name="Grafik 92">
            <a:extLst>
              <a:ext uri="{FF2B5EF4-FFF2-40B4-BE49-F238E27FC236}">
                <a16:creationId xmlns:a16="http://schemas.microsoft.com/office/drawing/2014/main" id="{014D6882-0EFD-CE73-01E1-DDEF6C74F49C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5492" y="2368358"/>
            <a:ext cx="432000" cy="43200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638E81B5-1B90-2526-EBC5-7CB0BA1FA5E9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3348" y="3200766"/>
            <a:ext cx="504000" cy="504000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83F69CB6-0EDD-BA4B-A9FA-851F8C2CF8D0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396" y="3182838"/>
            <a:ext cx="504000" cy="504000"/>
          </a:xfrm>
          <a:prstGeom prst="rect">
            <a:avLst/>
          </a:prstGeom>
        </p:spPr>
      </p:pic>
      <p:sp>
        <p:nvSpPr>
          <p:cNvPr id="96" name="Pfeil: Fünfeck 95">
            <a:extLst>
              <a:ext uri="{FF2B5EF4-FFF2-40B4-BE49-F238E27FC236}">
                <a16:creationId xmlns:a16="http://schemas.microsoft.com/office/drawing/2014/main" id="{6324E32A-1C78-77BA-D7F8-2F45DCF7608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44252" y="5127078"/>
            <a:ext cx="1944000" cy="216000"/>
          </a:xfrm>
          <a:prstGeom prst="homePlate">
            <a:avLst/>
          </a:prstGeom>
          <a:solidFill>
            <a:srgbClr val="71767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Electrical power source</a:t>
            </a:r>
          </a:p>
        </p:txBody>
      </p:sp>
      <p:sp>
        <p:nvSpPr>
          <p:cNvPr id="97" name="Pfeil: Chevron 96">
            <a:extLst>
              <a:ext uri="{FF2B5EF4-FFF2-40B4-BE49-F238E27FC236}">
                <a16:creationId xmlns:a16="http://schemas.microsoft.com/office/drawing/2014/main" id="{A0DFC787-DD2E-B55B-9367-0CFBD8F5B5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388468" y="5127078"/>
            <a:ext cx="1944000" cy="216000"/>
          </a:xfrm>
          <a:prstGeom prst="chevron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ource of hydrogen</a:t>
            </a:r>
          </a:p>
        </p:txBody>
      </p:sp>
      <p:sp>
        <p:nvSpPr>
          <p:cNvPr id="98" name="Pfeil: Chevron 97">
            <a:extLst>
              <a:ext uri="{FF2B5EF4-FFF2-40B4-BE49-F238E27FC236}">
                <a16:creationId xmlns:a16="http://schemas.microsoft.com/office/drawing/2014/main" id="{C03AA687-C74C-F41B-0788-871D428F87D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6493124" y="5127054"/>
            <a:ext cx="1800000" cy="216000"/>
          </a:xfrm>
          <a:prstGeom prst="chevron">
            <a:avLst/>
          </a:prstGeom>
          <a:solidFill>
            <a:srgbClr val="00884A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Application</a:t>
            </a:r>
          </a:p>
        </p:txBody>
      </p:sp>
      <p:sp>
        <p:nvSpPr>
          <p:cNvPr id="99" name="Pfeil: Chevron 98">
            <a:extLst>
              <a:ext uri="{FF2B5EF4-FFF2-40B4-BE49-F238E27FC236}">
                <a16:creationId xmlns:a16="http://schemas.microsoft.com/office/drawing/2014/main" id="{2B3531F9-335B-431D-FF42-5E037197D96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293124" y="5127030"/>
            <a:ext cx="2304000" cy="216000"/>
          </a:xfrm>
          <a:prstGeom prst="chevron">
            <a:avLst/>
          </a:prstGeom>
          <a:solidFill>
            <a:srgbClr val="00884A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Market segment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18E0E86E-69B7-7E2C-09E8-71AB59054EC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33428" y="3704822"/>
            <a:ext cx="1296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Indutry processes</a:t>
            </a:r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890CF9E9-A21E-64AF-19F9-24D00159C30C}"/>
              </a:ext>
            </a:extLst>
          </p:cNvPr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96" y="3907795"/>
            <a:ext cx="576000" cy="576000"/>
          </a:xfrm>
          <a:prstGeom prst="rect">
            <a:avLst/>
          </a:prstGeom>
        </p:spPr>
      </p:pic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93EE4ED1-255D-EFCC-6C1C-8090838BECC4}"/>
              </a:ext>
            </a:extLst>
          </p:cNvPr>
          <p:cNvGrpSpPr/>
          <p:nvPr/>
        </p:nvGrpSpPr>
        <p:grpSpPr>
          <a:xfrm>
            <a:off x="5012286" y="1598726"/>
            <a:ext cx="996254" cy="1224072"/>
            <a:chOff x="7113724" y="1717154"/>
            <a:chExt cx="996254" cy="1224072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5032BA2F-9C87-D3AE-90F2-3902EC3DED57}"/>
                </a:ext>
              </a:extLst>
            </p:cNvPr>
            <p:cNvSpPr/>
            <p:nvPr/>
          </p:nvSpPr>
          <p:spPr>
            <a:xfrm>
              <a:off x="7257740" y="1969227"/>
              <a:ext cx="575980" cy="575999"/>
            </a:xfrm>
            <a:prstGeom prst="ellipse">
              <a:avLst/>
            </a:prstGeom>
            <a:noFill/>
            <a:ln w="25400" cap="flat" cmpd="sng" algn="ctr">
              <a:solidFill>
                <a:srgbClr val="00884A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>
                  <a:ln>
                    <a:noFill/>
                  </a:ln>
                  <a:solidFill>
                    <a:srgbClr val="00884A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p</a:t>
              </a:r>
              <a:b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884A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</a:br>
              <a:r>
                <a: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srgbClr val="00884A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[bar]</a:t>
              </a: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85471121-7C75-C07D-B087-DB926AADA292}"/>
                </a:ext>
              </a:extLst>
            </p:cNvPr>
            <p:cNvCxnSpPr>
              <a:stCxn id="103" idx="3"/>
            </p:cNvCxnSpPr>
            <p:nvPr/>
          </p:nvCxnSpPr>
          <p:spPr>
            <a:xfrm flipH="1">
              <a:off x="7257720" y="2460873"/>
              <a:ext cx="84370" cy="84352"/>
            </a:xfrm>
            <a:prstGeom prst="line">
              <a:avLst/>
            </a:prstGeom>
            <a:ln w="25400">
              <a:solidFill>
                <a:srgbClr val="00884A"/>
              </a:solidFill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7CF5909F-C899-C0C8-3738-527E87F6BE96}"/>
                </a:ext>
              </a:extLst>
            </p:cNvPr>
            <p:cNvCxnSpPr>
              <a:stCxn id="103" idx="5"/>
            </p:cNvCxnSpPr>
            <p:nvPr/>
          </p:nvCxnSpPr>
          <p:spPr>
            <a:xfrm>
              <a:off x="7749370" y="2460873"/>
              <a:ext cx="84349" cy="84352"/>
            </a:xfrm>
            <a:prstGeom prst="line">
              <a:avLst/>
            </a:prstGeom>
            <a:ln w="25400">
              <a:solidFill>
                <a:srgbClr val="00884A"/>
              </a:solidFill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ED39BAC2-03A9-69E1-CA39-4A839B95E0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45772" y="1861162"/>
              <a:ext cx="42" cy="108000"/>
            </a:xfrm>
            <a:prstGeom prst="line">
              <a:avLst/>
            </a:prstGeom>
            <a:ln w="25400">
              <a:solidFill>
                <a:srgbClr val="00884A"/>
              </a:solidFill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</p:cxn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8E913215-3E31-FDB4-08B8-5A8703DA3C02}"/>
                </a:ext>
              </a:extLst>
            </p:cNvPr>
            <p:cNvSpPr txBox="1"/>
            <p:nvPr/>
          </p:nvSpPr>
          <p:spPr>
            <a:xfrm>
              <a:off x="7113724" y="2545266"/>
              <a:ext cx="1800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srgbClr val="00884A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C03E8A29-ABF3-FBCE-2AF9-D1B2D0909984}"/>
                </a:ext>
              </a:extLst>
            </p:cNvPr>
            <p:cNvSpPr txBox="1"/>
            <p:nvPr/>
          </p:nvSpPr>
          <p:spPr>
            <a:xfrm>
              <a:off x="7761828" y="2545266"/>
              <a:ext cx="348150" cy="17993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srgbClr val="00884A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(700)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ECF755C0-12AD-4FF4-7686-89C3E01AC120}"/>
                </a:ext>
              </a:extLst>
            </p:cNvPr>
            <p:cNvSpPr txBox="1"/>
            <p:nvPr/>
          </p:nvSpPr>
          <p:spPr>
            <a:xfrm>
              <a:off x="7401756" y="1717154"/>
              <a:ext cx="2880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srgbClr val="00884A"/>
                  </a:solidFill>
                  <a:effectLst/>
                  <a:uLnTx/>
                  <a:uFillTx/>
                  <a:latin typeface="Bosch Office Sans" pitchFamily="34" charset="0"/>
                  <a:ea typeface="+mn-ea"/>
                  <a:cs typeface="+mn-cs"/>
                </a:rPr>
                <a:t>350</a:t>
              </a:r>
            </a:p>
          </p:txBody>
        </p:sp>
        <p:sp>
          <p:nvSpPr>
            <p:cNvPr id="110" name="Bogen 109">
              <a:extLst>
                <a:ext uri="{FF2B5EF4-FFF2-40B4-BE49-F238E27FC236}">
                  <a16:creationId xmlns:a16="http://schemas.microsoft.com/office/drawing/2014/main" id="{46B026F0-B0CC-0243-791E-7B61E4707AD1}"/>
                </a:ext>
              </a:extLst>
            </p:cNvPr>
            <p:cNvSpPr/>
            <p:nvPr/>
          </p:nvSpPr>
          <p:spPr>
            <a:xfrm>
              <a:off x="7293804" y="2005226"/>
              <a:ext cx="504000" cy="504000"/>
            </a:xfrm>
            <a:prstGeom prst="arc">
              <a:avLst>
                <a:gd name="adj1" fmla="val 10636208"/>
                <a:gd name="adj2" fmla="val 16193340"/>
              </a:avLst>
            </a:prstGeom>
            <a:ln w="92075">
              <a:solidFill>
                <a:srgbClr val="00884A"/>
              </a:solidFill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cxnSp>
          <p:nvCxnSpPr>
            <p:cNvPr id="111" name="Gerader Verbinder 110">
              <a:extLst>
                <a:ext uri="{FF2B5EF4-FFF2-40B4-BE49-F238E27FC236}">
                  <a16:creationId xmlns:a16="http://schemas.microsoft.com/office/drawing/2014/main" id="{01A53AA6-3053-D7FA-D3E4-B3AF946B1057}"/>
                </a:ext>
              </a:extLst>
            </p:cNvPr>
            <p:cNvCxnSpPr>
              <a:cxnSpLocks/>
              <a:endCxn id="103" idx="4"/>
            </p:cNvCxnSpPr>
            <p:nvPr/>
          </p:nvCxnSpPr>
          <p:spPr>
            <a:xfrm flipV="1">
              <a:off x="7545730" y="2545226"/>
              <a:ext cx="0" cy="396000"/>
            </a:xfrm>
            <a:prstGeom prst="line">
              <a:avLst/>
            </a:prstGeom>
            <a:ln w="25400" cap="rnd">
              <a:solidFill>
                <a:srgbClr val="00884A"/>
              </a:solidFill>
              <a:round/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</p:cxnSp>
        <p:sp>
          <p:nvSpPr>
            <p:cNvPr id="112" name="Bogen 111">
              <a:extLst>
                <a:ext uri="{FF2B5EF4-FFF2-40B4-BE49-F238E27FC236}">
                  <a16:creationId xmlns:a16="http://schemas.microsoft.com/office/drawing/2014/main" id="{19EC9F80-64F3-B365-C86B-6D1E221928CE}"/>
                </a:ext>
              </a:extLst>
            </p:cNvPr>
            <p:cNvSpPr/>
            <p:nvPr/>
          </p:nvSpPr>
          <p:spPr>
            <a:xfrm rot="5400000">
              <a:off x="7300476" y="2005186"/>
              <a:ext cx="504000" cy="504000"/>
            </a:xfrm>
            <a:prstGeom prst="arc">
              <a:avLst>
                <a:gd name="adj1" fmla="val 10636208"/>
                <a:gd name="adj2" fmla="val 19076815"/>
              </a:avLst>
            </a:prstGeom>
            <a:noFill/>
            <a:ln w="92075">
              <a:solidFill>
                <a:srgbClr val="00884A">
                  <a:alpha val="50000"/>
                </a:srgbClr>
              </a:solidFill>
              <a:prstDash val="solid"/>
            </a:ln>
          </p:spPr>
          <p:style>
            <a:lnRef idx="1">
              <a:srgbClr val="18837E"/>
            </a:lnRef>
            <a:fillRef idx="0">
              <a:srgbClr val="18837E"/>
            </a:fillRef>
            <a:effectRef idx="0">
              <a:srgbClr val="18837E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sp>
        <p:nvSpPr>
          <p:cNvPr id="113" name="Rechteck 112">
            <a:extLst>
              <a:ext uri="{FF2B5EF4-FFF2-40B4-BE49-F238E27FC236}">
                <a16:creationId xmlns:a16="http://schemas.microsoft.com/office/drawing/2014/main" id="{412362D3-050E-6A98-EBE9-0E591FD1AB1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604492" y="4011209"/>
            <a:ext cx="1008000" cy="396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kern="0">
                <a:solidFill>
                  <a:srgbClr val="000000"/>
                </a:solidFill>
                <a:latin typeface="Bosch Office Sans"/>
              </a:rPr>
              <a:t>up to</a:t>
            </a: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35bar intermediate storage tank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011D68E-44EF-904E-6258-20E40D0120F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020324" y="2441106"/>
            <a:ext cx="1008104" cy="64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Bosch-Icon" pitchFamily="2" charset="0"/>
                <a:ea typeface="+mn-ea"/>
                <a:cs typeface="+mn-cs"/>
              </a:rPr>
              <a:t></a:t>
            </a: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15" name="Grafik 114">
            <a:extLst>
              <a:ext uri="{FF2B5EF4-FFF2-40B4-BE49-F238E27FC236}">
                <a16:creationId xmlns:a16="http://schemas.microsoft.com/office/drawing/2014/main" id="{419B4DF0-6E9B-1A0B-F4C2-0B98A04A55B8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308" y="2279312"/>
            <a:ext cx="432000" cy="432000"/>
          </a:xfrm>
          <a:prstGeom prst="rect">
            <a:avLst/>
          </a:prstGeom>
        </p:spPr>
      </p:pic>
      <p:sp>
        <p:nvSpPr>
          <p:cNvPr id="116" name="Textfeld 115">
            <a:extLst>
              <a:ext uri="{FF2B5EF4-FFF2-40B4-BE49-F238E27FC236}">
                <a16:creationId xmlns:a16="http://schemas.microsoft.com/office/drawing/2014/main" id="{2B1FA64C-FB4E-94C3-FD19-F1A971CC25E9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135020" y="1684740"/>
            <a:ext cx="2353350" cy="39933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0" dirty="0">
                <a:solidFill>
                  <a:srgbClr val="71767C"/>
                </a:solidFill>
                <a:latin typeface="Bosch Office Sans"/>
              </a:rPr>
              <a:t>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mall scale energy storage &amp; laboratori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100 kW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7F6869E5-D900-2AE6-2A39-B32A56A54103}"/>
              </a:ext>
            </a:extLst>
          </p:cNvPr>
          <p:cNvCxnSpPr>
            <a:cxnSpLocks/>
          </p:cNvCxnSpPr>
          <p:nvPr/>
        </p:nvCxnSpPr>
        <p:spPr>
          <a:xfrm>
            <a:off x="2021548" y="2729066"/>
            <a:ext cx="720000" cy="0"/>
          </a:xfrm>
          <a:prstGeom prst="line">
            <a:avLst/>
          </a:prstGeom>
          <a:ln w="38100" cap="rnd">
            <a:solidFill>
              <a:srgbClr val="71767C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1A97FD5B-156B-514C-9406-8F66A214BE34}"/>
              </a:ext>
            </a:extLst>
          </p:cNvPr>
          <p:cNvCxnSpPr>
            <a:cxnSpLocks/>
          </p:cNvCxnSpPr>
          <p:nvPr/>
        </p:nvCxnSpPr>
        <p:spPr>
          <a:xfrm>
            <a:off x="2028428" y="4334966"/>
            <a:ext cx="720000" cy="0"/>
          </a:xfrm>
          <a:prstGeom prst="line">
            <a:avLst/>
          </a:prstGeom>
          <a:ln w="38100" cap="rnd">
            <a:solidFill>
              <a:srgbClr val="71767C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2DDD016B-7580-81A3-2ED3-E0F5C241D4E3}"/>
              </a:ext>
            </a:extLst>
          </p:cNvPr>
          <p:cNvCxnSpPr>
            <a:cxnSpLocks/>
          </p:cNvCxnSpPr>
          <p:nvPr/>
        </p:nvCxnSpPr>
        <p:spPr>
          <a:xfrm flipV="1">
            <a:off x="2748508" y="1445604"/>
            <a:ext cx="0" cy="2889106"/>
          </a:xfrm>
          <a:prstGeom prst="line">
            <a:avLst/>
          </a:prstGeom>
          <a:ln w="38100" cap="rnd">
            <a:solidFill>
              <a:srgbClr val="71767C"/>
            </a:solidFill>
            <a:round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sp>
        <p:nvSpPr>
          <p:cNvPr id="120" name="Pfeil: Chevron 119">
            <a:extLst>
              <a:ext uri="{FF2B5EF4-FFF2-40B4-BE49-F238E27FC236}">
                <a16:creationId xmlns:a16="http://schemas.microsoft.com/office/drawing/2014/main" id="{047AFD3D-B3DE-FDAC-F6CC-CB9C266C07C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4332684" y="5127054"/>
            <a:ext cx="2160000" cy="216000"/>
          </a:xfrm>
          <a:prstGeom prst="chevron">
            <a:avLst/>
          </a:prstGeom>
          <a:solidFill>
            <a:srgbClr val="00884A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Value-add by compressor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FD9EF241-F6F5-E1F3-0783-25E446DA6D3B}"/>
              </a:ext>
            </a:extLst>
          </p:cNvPr>
          <p:cNvCxnSpPr>
            <a:cxnSpLocks/>
          </p:cNvCxnSpPr>
          <p:nvPr/>
        </p:nvCxnSpPr>
        <p:spPr>
          <a:xfrm>
            <a:off x="6348908" y="4334966"/>
            <a:ext cx="432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8ACF3D4B-A88E-E308-3042-7ECD8D4FDC1A}"/>
              </a:ext>
            </a:extLst>
          </p:cNvPr>
          <p:cNvCxnSpPr>
            <a:cxnSpLocks/>
          </p:cNvCxnSpPr>
          <p:nvPr/>
        </p:nvCxnSpPr>
        <p:spPr>
          <a:xfrm>
            <a:off x="5916860" y="3254846"/>
            <a:ext cx="432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non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A62E9833-9962-B0C4-77DA-B34295D647E6}"/>
              </a:ext>
            </a:extLst>
          </p:cNvPr>
          <p:cNvCxnSpPr>
            <a:cxnSpLocks/>
          </p:cNvCxnSpPr>
          <p:nvPr/>
        </p:nvCxnSpPr>
        <p:spPr>
          <a:xfrm flipV="1">
            <a:off x="6348908" y="2822798"/>
            <a:ext cx="0" cy="151200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non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6411918D-5093-F15C-32D3-CC995DB0C638}"/>
              </a:ext>
            </a:extLst>
          </p:cNvPr>
          <p:cNvCxnSpPr>
            <a:cxnSpLocks/>
          </p:cNvCxnSpPr>
          <p:nvPr/>
        </p:nvCxnSpPr>
        <p:spPr>
          <a:xfrm>
            <a:off x="8148964" y="3038822"/>
            <a:ext cx="288000" cy="0"/>
          </a:xfrm>
          <a:prstGeom prst="line">
            <a:avLst/>
          </a:prstGeom>
          <a:ln w="38100" cap="rnd">
            <a:solidFill>
              <a:srgbClr val="00884A"/>
            </a:solidFill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pic>
        <p:nvPicPr>
          <p:cNvPr id="125" name="Grafik 124">
            <a:extLst>
              <a:ext uri="{FF2B5EF4-FFF2-40B4-BE49-F238E27FC236}">
                <a16:creationId xmlns:a16="http://schemas.microsoft.com/office/drawing/2014/main" id="{B7283E0D-3567-C6B8-2C03-4B776497E108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9801826" y="4089726"/>
            <a:ext cx="663848" cy="663848"/>
          </a:xfrm>
          <a:prstGeom prst="rect">
            <a:avLst/>
          </a:prstGeom>
        </p:spPr>
      </p:pic>
      <p:pic>
        <p:nvPicPr>
          <p:cNvPr id="126" name="Grafik 125">
            <a:extLst>
              <a:ext uri="{FF2B5EF4-FFF2-40B4-BE49-F238E27FC236}">
                <a16:creationId xmlns:a16="http://schemas.microsoft.com/office/drawing/2014/main" id="{8DC15103-1B70-14F3-07BB-A902B17DFEF2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9157251" y="4043571"/>
            <a:ext cx="615444" cy="615444"/>
          </a:xfrm>
          <a:prstGeom prst="rect">
            <a:avLst/>
          </a:prstGeom>
        </p:spPr>
      </p:pic>
      <p:pic>
        <p:nvPicPr>
          <p:cNvPr id="127" name="Grafik 126">
            <a:extLst>
              <a:ext uri="{FF2B5EF4-FFF2-40B4-BE49-F238E27FC236}">
                <a16:creationId xmlns:a16="http://schemas.microsoft.com/office/drawing/2014/main" id="{39ED54AD-189A-19D7-89DE-47C91373CF0C}"/>
              </a:ext>
            </a:extLst>
          </p:cNvPr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516324" y="2441098"/>
            <a:ext cx="576000" cy="576000"/>
          </a:xfrm>
          <a:prstGeom prst="rect">
            <a:avLst/>
          </a:prstGeom>
        </p:spPr>
      </p:pic>
      <p:sp>
        <p:nvSpPr>
          <p:cNvPr id="128" name="Textfeld 127">
            <a:extLst>
              <a:ext uri="{FF2B5EF4-FFF2-40B4-BE49-F238E27FC236}">
                <a16:creationId xmlns:a16="http://schemas.microsoft.com/office/drawing/2014/main" id="{DDEEC5A1-63D6-5757-D188-E145C1637D66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114093" y="2955133"/>
            <a:ext cx="2395204" cy="42183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anufacturing, </a:t>
            </a: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gricultur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, hospitals, universities &amp; schools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ackup-power, intralogistics &amp; he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0">
                <a:solidFill>
                  <a:srgbClr val="71767C"/>
                </a:solidFill>
                <a:latin typeface="Bosch Office Sans"/>
              </a:rPr>
              <a:t>u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p to ~1.000 kW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F61589-3DF9-BD02-D73A-C5C4C79EDEA6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267691" y="4430479"/>
            <a:ext cx="2088009" cy="21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unicipal fleets &amp; </a:t>
            </a:r>
            <a:b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</a:b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utility provider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1767C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up to 5.000 kW</a:t>
            </a:r>
          </a:p>
        </p:txBody>
      </p:sp>
      <p:pic>
        <p:nvPicPr>
          <p:cNvPr id="130" name="Grafik 129">
            <a:extLst>
              <a:ext uri="{FF2B5EF4-FFF2-40B4-BE49-F238E27FC236}">
                <a16:creationId xmlns:a16="http://schemas.microsoft.com/office/drawing/2014/main" id="{6686B7E8-6A27-C346-7929-7EF9BC027395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8301" y="3974926"/>
            <a:ext cx="360000" cy="297931"/>
          </a:xfrm>
          <a:prstGeom prst="rect">
            <a:avLst/>
          </a:prstGeom>
        </p:spPr>
      </p:pic>
      <p:pic>
        <p:nvPicPr>
          <p:cNvPr id="131" name="Grafik 130">
            <a:extLst>
              <a:ext uri="{FF2B5EF4-FFF2-40B4-BE49-F238E27FC236}">
                <a16:creationId xmlns:a16="http://schemas.microsoft.com/office/drawing/2014/main" id="{957D7EB4-7360-D97C-B00E-59F450AAED5C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8819" y="3974926"/>
            <a:ext cx="360000" cy="297931"/>
          </a:xfrm>
          <a:prstGeom prst="rect">
            <a:avLst/>
          </a:prstGeom>
        </p:spPr>
      </p:pic>
      <p:pic>
        <p:nvPicPr>
          <p:cNvPr id="132" name="Grafik 131">
            <a:extLst>
              <a:ext uri="{FF2B5EF4-FFF2-40B4-BE49-F238E27FC236}">
                <a16:creationId xmlns:a16="http://schemas.microsoft.com/office/drawing/2014/main" id="{F6CCF42C-AB9D-00CC-F624-B0BFF0368628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0812" y="1022662"/>
            <a:ext cx="576000" cy="576000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69579AC9-E100-95DD-BC31-4EF68256EB61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6836" y="1022598"/>
            <a:ext cx="576000" cy="576000"/>
          </a:xfrm>
          <a:prstGeom prst="rect">
            <a:avLst/>
          </a:prstGeom>
        </p:spPr>
      </p:pic>
      <p:sp>
        <p:nvSpPr>
          <p:cNvPr id="134" name="Rechteck 133">
            <a:extLst>
              <a:ext uri="{FF2B5EF4-FFF2-40B4-BE49-F238E27FC236}">
                <a16:creationId xmlns:a16="http://schemas.microsoft.com/office/drawing/2014/main" id="{C1746C9E-8A88-DF5F-C8C1-32FB6D9474B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996836" y="1274638"/>
            <a:ext cx="71860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70FF3CE7-9270-39B3-1876-D12B75739826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7212944" y="1274638"/>
            <a:ext cx="71860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81F76009-7B18-A4D9-4248-E5ADE6E4BE8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6564932" y="1598661"/>
            <a:ext cx="1223674" cy="37000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metal hydride storage (~60bar)</a:t>
            </a: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B4FF0A98-3A37-85B7-C7D5-9781A999A616}"/>
              </a:ext>
            </a:extLst>
          </p:cNvPr>
          <p:cNvCxnSpPr>
            <a:cxnSpLocks/>
          </p:cNvCxnSpPr>
          <p:nvPr/>
        </p:nvCxnSpPr>
        <p:spPr>
          <a:xfrm>
            <a:off x="6348908" y="1238622"/>
            <a:ext cx="432000" cy="0"/>
          </a:xfrm>
          <a:prstGeom prst="line">
            <a:avLst/>
          </a:prstGeom>
          <a:ln w="38100" cap="rnd">
            <a:solidFill>
              <a:srgbClr val="00884A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sp>
        <p:nvSpPr>
          <p:cNvPr id="138" name="Rechteck 137">
            <a:extLst>
              <a:ext uri="{FF2B5EF4-FFF2-40B4-BE49-F238E27FC236}">
                <a16:creationId xmlns:a16="http://schemas.microsoft.com/office/drawing/2014/main" id="{61982D96-B77D-94EF-7BF6-A82E287535A2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4751353" y="4213681"/>
            <a:ext cx="1403696" cy="32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calability by parallel installation</a:t>
            </a:r>
          </a:p>
        </p:txBody>
      </p:sp>
      <p:cxnSp>
        <p:nvCxnSpPr>
          <p:cNvPr id="139" name="Gerader Verbinder 138">
            <a:extLst>
              <a:ext uri="{FF2B5EF4-FFF2-40B4-BE49-F238E27FC236}">
                <a16:creationId xmlns:a16="http://schemas.microsoft.com/office/drawing/2014/main" id="{DF96ED2A-0044-328C-AB83-10C876BF0E63}"/>
              </a:ext>
            </a:extLst>
          </p:cNvPr>
          <p:cNvCxnSpPr>
            <a:cxnSpLocks/>
          </p:cNvCxnSpPr>
          <p:nvPr/>
        </p:nvCxnSpPr>
        <p:spPr>
          <a:xfrm>
            <a:off x="6348860" y="1238622"/>
            <a:ext cx="0" cy="1584000"/>
          </a:xfrm>
          <a:prstGeom prst="line">
            <a:avLst/>
          </a:prstGeom>
          <a:ln w="38100" cap="rnd">
            <a:solidFill>
              <a:srgbClr val="00884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cxnSp>
        <p:nvCxnSpPr>
          <p:cNvPr id="140" name="Gerader Verbinder 139">
            <a:extLst>
              <a:ext uri="{FF2B5EF4-FFF2-40B4-BE49-F238E27FC236}">
                <a16:creationId xmlns:a16="http://schemas.microsoft.com/office/drawing/2014/main" id="{776D5043-D522-797D-400D-10C0F24147B1}"/>
              </a:ext>
            </a:extLst>
          </p:cNvPr>
          <p:cNvCxnSpPr>
            <a:cxnSpLocks/>
          </p:cNvCxnSpPr>
          <p:nvPr/>
        </p:nvCxnSpPr>
        <p:spPr>
          <a:xfrm>
            <a:off x="7501036" y="1238622"/>
            <a:ext cx="936000" cy="0"/>
          </a:xfrm>
          <a:prstGeom prst="line">
            <a:avLst/>
          </a:prstGeom>
          <a:ln w="38100" cap="rnd">
            <a:solidFill>
              <a:srgbClr val="00884A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1">
            <a:srgbClr val="18837E"/>
          </a:lnRef>
          <a:fillRef idx="0">
            <a:srgbClr val="18837E"/>
          </a:fillRef>
          <a:effectRef idx="0">
            <a:srgbClr val="18837E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63EC7-6292-AC00-A30E-146973E98E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Bosch compact gas compressor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E7F35A4-F59A-5881-C0B1-860AD3DE3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drogen use cases</a:t>
            </a:r>
          </a:p>
        </p:txBody>
      </p:sp>
    </p:spTree>
    <p:extLst>
      <p:ext uri="{BB962C8B-B14F-4D97-AF65-F5344CB8AC3E}">
        <p14:creationId xmlns:p14="http://schemas.microsoft.com/office/powerpoint/2010/main" val="28331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5BD9607-AFD2-CE95-2B04-F1B61905BC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osch Office Sans"/>
                <a:ea typeface="+mj-ea"/>
                <a:cs typeface="+mj-cs"/>
              </a:rPr>
              <a:t>Bosch compact gas compressor</a:t>
            </a:r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5E044FE-41B6-C273-5564-808097811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drogen use cases</a:t>
            </a:r>
          </a:p>
        </p:txBody>
      </p:sp>
      <p:sp>
        <p:nvSpPr>
          <p:cNvPr id="2" name="Pfeil: Fünfeck 1">
            <a:extLst>
              <a:ext uri="{FF2B5EF4-FFF2-40B4-BE49-F238E27FC236}">
                <a16:creationId xmlns:a16="http://schemas.microsoft.com/office/drawing/2014/main" id="{4E57B835-DC02-A4C3-A695-B103AFD8A7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37222" y="3987428"/>
            <a:ext cx="8792124" cy="1401434"/>
          </a:xfrm>
          <a:prstGeom prst="homePlate">
            <a:avLst>
              <a:gd name="adj" fmla="val 33349"/>
            </a:avLst>
          </a:prstGeom>
          <a:gradFill>
            <a:gsLst>
              <a:gs pos="52400">
                <a:srgbClr val="18837E"/>
              </a:gs>
              <a:gs pos="0">
                <a:srgbClr val="92D050"/>
              </a:gs>
              <a:gs pos="100000">
                <a:srgbClr val="00512A"/>
              </a:gs>
            </a:gsLst>
            <a:lin ang="0" scaled="1"/>
          </a:gra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616075" marR="0" lvl="0" indent="-3619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16075" algn="l"/>
              </a:tabLst>
              <a:defRPr/>
            </a:pPr>
            <a:r>
              <a:rPr kumimoji="0" lang="en-US" sz="1800" b="0" i="0" u="sng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caling of compression units =</a:t>
            </a:r>
          </a:p>
          <a:p>
            <a:pPr marL="1616075" marR="0" lvl="0" indent="-3619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>
                <a:tab pos="1616075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high redundancy of compression system</a:t>
            </a:r>
          </a:p>
          <a:p>
            <a:pPr marL="1616075" marR="0" lvl="0" indent="-3619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>
                <a:tab pos="1616075" algn="l"/>
              </a:tabLst>
              <a:defRPr/>
            </a:pPr>
            <a:r>
              <a:rPr lang="en-US" kern="0">
                <a:solidFill>
                  <a:prstClr val="white"/>
                </a:solidFill>
                <a:latin typeface="Bosch Office Sans"/>
              </a:rPr>
              <a:t>controllability in a wide operating range</a:t>
            </a:r>
          </a:p>
          <a:p>
            <a:pPr marL="1616075" marR="0" lvl="0" indent="-3619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>
                <a:tab pos="1616075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availability even during maintenance opera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8C9518F-DDDD-10E1-8EAB-F08CF8BB44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21346" y="1562780"/>
            <a:ext cx="2808000" cy="252000"/>
          </a:xfrm>
          <a:prstGeom prst="rect">
            <a:avLst/>
          </a:prstGeom>
          <a:solidFill>
            <a:srgbClr val="00512A"/>
          </a:solidFill>
          <a:ln w="9525" cap="flat" cmpd="sng" algn="ctr">
            <a:noFill/>
            <a:prstDash val="solid"/>
          </a:ln>
          <a:effectLst/>
        </p:spPr>
        <p:txBody>
          <a:bodyPr t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energ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85D8BA6-1584-0FB7-CF16-32149FB553F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107504" y="1820449"/>
            <a:ext cx="1092861" cy="10928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78CE81F-CD9B-3CEB-6AB6-8344A6BE06D4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474815" y="1426123"/>
            <a:ext cx="1092861" cy="1092861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0E5AC05-71A8-19DD-3169-F83CF0852DC4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999197" y="2129264"/>
            <a:ext cx="739833" cy="739833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8A55524D-95B7-963C-2C91-819A99654C24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293022" y="1972554"/>
            <a:ext cx="846520" cy="84652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0EB5E5C9-C7C0-D488-85AF-26798FAD848E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443333" y="1879442"/>
            <a:ext cx="991505" cy="991505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F77EC181-A597-D500-E30E-C962B6DC08F0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852868" y="1760945"/>
            <a:ext cx="1211871" cy="1211871"/>
          </a:xfrm>
          <a:prstGeom prst="rect">
            <a:avLst/>
          </a:prstGeom>
        </p:spPr>
      </p:pic>
      <p:sp>
        <p:nvSpPr>
          <p:cNvPr id="46" name="Textfeld 45">
            <a:extLst>
              <a:ext uri="{FF2B5EF4-FFF2-40B4-BE49-F238E27FC236}">
                <a16:creationId xmlns:a16="http://schemas.microsoft.com/office/drawing/2014/main" id="{9D92582B-019D-F99F-E905-03476EC017F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00088" y="2793358"/>
            <a:ext cx="914400" cy="442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single family homes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DFA29FE3-B3E6-EB51-06A2-7F7EC29F73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001603" y="2793358"/>
            <a:ext cx="914400" cy="442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ulti family homes &amp; quarters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DDCF53BA-EF6B-B6EB-D559-D23BF53896D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85618" y="2793357"/>
            <a:ext cx="2804878" cy="6191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anufacturing, </a:t>
            </a: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gricultur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hospitals, universities &amp; schoo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ackup-power, intralogistics &amp; hea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31A8DFC1-267B-BF37-04AA-F1E1D68CA70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22479" y="2793358"/>
            <a:ext cx="1174985" cy="38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LY‘s for power grid stabilization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F6B7A13-20DE-E955-9D8D-E7F4CCB807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867611" y="2793358"/>
            <a:ext cx="1491516" cy="297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municipal H</a:t>
            </a:r>
            <a:r>
              <a:rPr kumimoji="0" lang="en-US" sz="12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2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production &amp; usage 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E7181794-DDB8-C394-DCB6-ED8EDF98E9F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11310" y="2684180"/>
            <a:ext cx="914400" cy="2969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USE CASE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5D90ACC1-CE7C-CD33-6E7E-A08D16F7FB70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8896225" y="2223558"/>
            <a:ext cx="660000" cy="6600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36FAE2E2-9FB8-A7C7-210D-B845A6D7A73B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127093" y="1678537"/>
            <a:ext cx="877971" cy="877971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8357B6F3-990F-DDE6-B7E4-CA9B0F495C9B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9484179" y="2169762"/>
            <a:ext cx="837051" cy="837051"/>
          </a:xfrm>
          <a:prstGeom prst="rect">
            <a:avLst/>
          </a:prstGeom>
        </p:spPr>
      </p:pic>
      <p:sp>
        <p:nvSpPr>
          <p:cNvPr id="61" name="Textfeld 60">
            <a:extLst>
              <a:ext uri="{FF2B5EF4-FFF2-40B4-BE49-F238E27FC236}">
                <a16:creationId xmlns:a16="http://schemas.microsoft.com/office/drawing/2014/main" id="{71D84709-8F34-5103-91F8-472FB0316F6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11310" y="3453347"/>
            <a:ext cx="914400" cy="2969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LY POWER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1F2A59A-5567-29D0-A1DF-7682005EB49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001603" y="3449649"/>
            <a:ext cx="914400" cy="3043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5-50KW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9D0D6FC4-7F04-80FE-2C3D-C95F4CAEB3F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589625" y="3449649"/>
            <a:ext cx="914400" cy="3043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1-5KW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8431EF86-F1E8-F2E0-8AFA-2290BFBC484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186520" y="3449649"/>
            <a:ext cx="914400" cy="3043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&lt;50KW-1MW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8CFC0B62-5282-7842-69C9-204F15266E62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631633" y="3449649"/>
            <a:ext cx="914400" cy="3043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1-5MW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A9767EE2-F4A1-B174-09B0-F9F08BDBB096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176813" y="3449649"/>
            <a:ext cx="914400" cy="3043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1-5MW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77DB280-D81B-9452-2472-3890A5EAB38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37222" y="1562780"/>
            <a:ext cx="2808000" cy="252000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</a:ln>
          <a:effectLst/>
        </p:spPr>
        <p:txBody>
          <a:bodyPr t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residential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FBB055C-237D-4FBA-8807-B68A8B7D36B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429284" y="1562780"/>
            <a:ext cx="2808000" cy="252000"/>
          </a:xfrm>
          <a:prstGeom prst="rect">
            <a:avLst/>
          </a:prstGeom>
          <a:solidFill>
            <a:srgbClr val="18837E"/>
          </a:solidFill>
          <a:ln w="9525" cap="flat" cmpd="sng" algn="ctr">
            <a:noFill/>
            <a:prstDash val="solid"/>
          </a:ln>
          <a:effectLst/>
        </p:spPr>
        <p:txBody>
          <a:bodyPr t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commercial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6A7C4761-0035-C06D-28EC-424CA0FF01A5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13633" y="1622271"/>
            <a:ext cx="914400" cy="2969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SEGMENT</a:t>
            </a:r>
          </a:p>
        </p:txBody>
      </p:sp>
      <p:pic>
        <p:nvPicPr>
          <p:cNvPr id="70" name="Grafik 69">
            <a:extLst>
              <a:ext uri="{FF2B5EF4-FFF2-40B4-BE49-F238E27FC236}">
                <a16:creationId xmlns:a16="http://schemas.microsoft.com/office/drawing/2014/main" id="{22F98AE3-92B3-47A1-5BFA-3968F956E58E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730034" y="1910162"/>
            <a:ext cx="944304" cy="944304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418B2AC2-C629-C80E-162C-56C356F5C877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387823" y="2292120"/>
            <a:ext cx="658368" cy="658368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1D9A5149-17F3-ABFE-EE31-8CC75E711E79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5318304" y="1705748"/>
            <a:ext cx="690066" cy="690066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BBE4E36E-E59E-93E3-93C0-B6C17670CFE0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892336" y="2142714"/>
            <a:ext cx="392887" cy="392887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E8EEA913-6C2C-E99B-C424-B482B4B186E3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3316" y="4068658"/>
            <a:ext cx="535829" cy="634393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D6050E19-1274-6D21-1401-45D0E1A0EE7F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21280" y="4068658"/>
            <a:ext cx="535829" cy="634393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243D2EE3-003D-9A17-5326-CF6CE7817D9D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9244" y="4068658"/>
            <a:ext cx="535829" cy="634393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6DFC870D-E2E2-9679-E40A-A921EC72CDB8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7208" y="4068658"/>
            <a:ext cx="535829" cy="634393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24B733D5-A467-5B43-9C91-D9AB04F6F207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3365" y="4619289"/>
            <a:ext cx="535829" cy="634393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5B42745D-10E7-50CA-1337-8B2DEB401C66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61329" y="4619289"/>
            <a:ext cx="535829" cy="634393"/>
          </a:xfrm>
          <a:prstGeom prst="rect">
            <a:avLst/>
          </a:prstGeom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C65DFB12-D1C6-DA9A-D495-BA3103AA3A2D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9293" y="4619289"/>
            <a:ext cx="535829" cy="634393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80A2053C-3430-8BB8-A5D2-FDEDEACDB1CF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7257" y="4619289"/>
            <a:ext cx="535829" cy="634393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B7F0E49B-1021-C4CF-AB1D-35D7D48B5C6D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4271" y="4354446"/>
            <a:ext cx="535829" cy="63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051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5BD9607-AFD2-CE95-2B04-F1B61905BC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Bosch Office Sans"/>
                <a:ea typeface="+mj-ea"/>
                <a:cs typeface="+mj-cs"/>
              </a:rPr>
              <a:t>Bosch compact gas compressor</a:t>
            </a:r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4D64088-FF07-FAD8-18E5-0C87C0BC9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scalability + modularity = redundancy</a:t>
            </a:r>
            <a:endParaRPr lang="en-US"/>
          </a:p>
        </p:txBody>
      </p:sp>
      <p:sp>
        <p:nvSpPr>
          <p:cNvPr id="2" name="Pfeil: Chevron 1">
            <a:extLst>
              <a:ext uri="{FF2B5EF4-FFF2-40B4-BE49-F238E27FC236}">
                <a16:creationId xmlns:a16="http://schemas.microsoft.com/office/drawing/2014/main" id="{13AD4C80-CD1F-074F-A2C9-8F4FEB8548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56343" y="1560385"/>
            <a:ext cx="5855125" cy="3675672"/>
          </a:xfrm>
          <a:prstGeom prst="chevron">
            <a:avLst>
              <a:gd name="adj" fmla="val 18217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" name="Pfeil: Chevron 2">
            <a:extLst>
              <a:ext uri="{FF2B5EF4-FFF2-40B4-BE49-F238E27FC236}">
                <a16:creationId xmlns:a16="http://schemas.microsoft.com/office/drawing/2014/main" id="{B7EBFABC-D63B-2749-5D2C-F1AAC1CB6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58156" y="1563390"/>
            <a:ext cx="3403109" cy="3675672"/>
          </a:xfrm>
          <a:prstGeom prst="chevron">
            <a:avLst>
              <a:gd name="adj" fmla="val 18217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C508CF9-FFEE-F550-C30D-0740041D46B7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346495"/>
              </a:clrFrom>
              <a:clrTo>
                <a:srgbClr val="34649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71369" y="2115414"/>
            <a:ext cx="1428754" cy="1259636"/>
          </a:xfrm>
          <a:prstGeom prst="rect">
            <a:avLst/>
          </a:prstGeom>
        </p:spPr>
      </p:pic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79068614-BBA4-FD0B-7DC4-402A187AA7A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89439" y="2913143"/>
            <a:ext cx="588996" cy="892593"/>
          </a:xfrm>
          <a:prstGeom prst="rightArrow">
            <a:avLst/>
          </a:prstGeom>
          <a:solidFill>
            <a:schemeClr val="accent2">
              <a:lumMod val="90000"/>
              <a:lumOff val="10000"/>
              <a:alpha val="69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4x</a:t>
            </a: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FCEAB3B2-220A-95E5-7DDC-E4A920F476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12372" y="2365460"/>
            <a:ext cx="621379" cy="1982680"/>
          </a:xfrm>
          <a:prstGeom prst="rightArrow">
            <a:avLst/>
          </a:prstGeom>
          <a:solidFill>
            <a:schemeClr val="accent2">
              <a:lumMod val="90000"/>
              <a:lumOff val="10000"/>
              <a:alpha val="69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1x..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6x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9C369543-2D33-62F4-C63B-118578B000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538258" y="4461369"/>
            <a:ext cx="1418086" cy="23940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mpression unit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F41855E-079D-1E90-BD68-CBC957E8392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749285" y="4481281"/>
            <a:ext cx="1418086" cy="23940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Drive uni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59120CE-C91A-CEE5-503C-1C3A6C3D5F7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109621" y="2984136"/>
            <a:ext cx="2346356" cy="4140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abinet &amp; container integr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incl. SPS control</a:t>
            </a:r>
          </a:p>
        </p:txBody>
      </p:sp>
      <p:sp>
        <p:nvSpPr>
          <p:cNvPr id="47" name="Pfeil: nach links 46">
            <a:extLst>
              <a:ext uri="{FF2B5EF4-FFF2-40B4-BE49-F238E27FC236}">
                <a16:creationId xmlns:a16="http://schemas.microsoft.com/office/drawing/2014/main" id="{8731AF09-5D27-F7A8-C767-BA643321EA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467610" y="2937749"/>
            <a:ext cx="978245" cy="843379"/>
          </a:xfrm>
          <a:prstGeom prst="leftArrow">
            <a:avLst/>
          </a:prstGeom>
          <a:solidFill>
            <a:schemeClr val="accent2">
              <a:lumMod val="90000"/>
              <a:lumOff val="10000"/>
              <a:alpha val="69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1..2x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6C15B68-2ACC-FC9A-136A-0C889E65EC8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3334" y="3763271"/>
            <a:ext cx="1762815" cy="3045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Rack integration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94365E35-944D-5DD0-C005-F0A89D3A7D0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11198" y="1305418"/>
            <a:ext cx="2827060" cy="4250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B2B3B5">
                    <a:lumMod val="75000"/>
                  </a:srgbClr>
                </a:solidFill>
                <a:effectLst/>
                <a:uLnTx/>
                <a:uFillTx/>
                <a:latin typeface="Comic Sans MS" panose="030F0702030302020204" pitchFamily="66" charset="0"/>
                <a:ea typeface="+mn-ea"/>
                <a:cs typeface="+mn-cs"/>
              </a:rPr>
              <a:t>small stationary &amp; mobile applications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F70A8CD6-9C0E-F014-63E7-7BCE5AB301C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458328" y="1305418"/>
            <a:ext cx="2675246" cy="261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B2B3B5">
                    <a:lumMod val="75000"/>
                  </a:srgbClr>
                </a:solidFill>
                <a:effectLst/>
                <a:uLnTx/>
                <a:uFillTx/>
                <a:latin typeface="Comic Sans MS" panose="030F0702030302020204" pitchFamily="66" charset="0"/>
                <a:ea typeface="+mn-ea"/>
                <a:cs typeface="+mn-cs"/>
              </a:rPr>
              <a:t>larger scale stationary applications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7D0145F3-DA7B-9F6A-EEE5-56A214BCE960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clrChange>
              <a:clrFrom>
                <a:srgbClr val="ED1C24"/>
              </a:clrFrom>
              <a:clrTo>
                <a:srgbClr val="ED1C2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9405" y="1665834"/>
            <a:ext cx="1622656" cy="1292716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AC0218FC-17FA-F33F-BEF1-35CE7940E7AE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346396"/>
              </a:clrFrom>
              <a:clrTo>
                <a:srgbClr val="34639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49285" y="3498332"/>
            <a:ext cx="1471898" cy="811799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05580E37-4A56-AF67-792B-E59A985BDEEE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4201" y="1820432"/>
            <a:ext cx="2241030" cy="2653259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D6FC6F9-A3D2-AA1E-4A22-139838FA2A76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47" t="3320" r="25303"/>
          <a:stretch/>
        </p:blipFill>
        <p:spPr>
          <a:xfrm>
            <a:off x="8033751" y="3467593"/>
            <a:ext cx="2309396" cy="1491127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B84B6BFB-8998-5CCB-FA9B-6189FDB00832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81" t="5201" r="33756" b="4682"/>
          <a:stretch/>
        </p:blipFill>
        <p:spPr>
          <a:xfrm>
            <a:off x="822708" y="2384230"/>
            <a:ext cx="1373869" cy="1276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799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BE62081-7C80-CB5B-9C25-33EA80A770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Bosch compact gas compressor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4503D1-67C1-10C0-A26F-CCE320F3A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884A"/>
                </a:solidFill>
              </a:rPr>
              <a:t>Circular Economy with remanufacturing concep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ABE051-1EC9-1389-A75F-1AB43988E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8</a:t>
            </a:fld>
            <a:endParaRPr lang="en-US" noProof="1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318E89B-90B6-89F1-80F6-D58A1CCB56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20932" y="2396067"/>
            <a:ext cx="4348693" cy="1761066"/>
          </a:xfrm>
          <a:prstGeom prst="rect">
            <a:avLst/>
          </a:prstGeom>
          <a:solidFill>
            <a:srgbClr val="00884A"/>
          </a:solidFill>
        </p:spPr>
        <p:txBody>
          <a:bodyPr wrap="none" lIns="0" tIns="0" rIns="0" bIns="0" rtlCol="0" anchor="ctr">
            <a:noAutofit/>
          </a:bodyPr>
          <a:lstStyle/>
          <a:p>
            <a:pPr marL="358775" indent="-26670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kern="0">
                <a:solidFill>
                  <a:prstClr val="white"/>
                </a:solidFill>
              </a:rPr>
              <a:t>redundant layout</a:t>
            </a:r>
          </a:p>
          <a:p>
            <a:pPr marL="358775" marR="0" lvl="0" indent="-2667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asy handling</a:t>
            </a:r>
          </a:p>
          <a:p>
            <a:pPr marL="358775" indent="-26670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kern="0">
                <a:solidFill>
                  <a:prstClr val="white"/>
                </a:solidFill>
              </a:rPr>
              <a:t>proven quality</a:t>
            </a:r>
          </a:p>
          <a:p>
            <a:pPr marL="358775" marR="0" lvl="0" indent="-2667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mpetitive cos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E6773A6-D71E-68E1-D67A-6F408BA380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490" y="1240860"/>
            <a:ext cx="5352231" cy="4221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670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EB9C50-3341-C724-5D64-87A4915F9A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Bosch compact gas compressor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B8A1982-07EE-1981-47E3-F6B52AE53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884A"/>
                </a:solidFill>
              </a:rPr>
              <a:t>Efficiency throughout the lifecyc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336643-F0D6-01AE-1650-12A4155CF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9</a:t>
            </a:fld>
            <a:endParaRPr lang="en-US" noProof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2CE5E2FD-88D5-BFB9-417A-3C590E9F0F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26558" y="1195228"/>
            <a:ext cx="2744319" cy="4115327"/>
          </a:xfrm>
          <a:prstGeom prst="rect">
            <a:avLst/>
          </a:prstGeom>
          <a:solidFill>
            <a:srgbClr val="00512A">
              <a:lumMod val="90000"/>
              <a:lumOff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4CCD35A-5639-F0BE-1DD5-6DC6FC9EE5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9435" y="1195228"/>
            <a:ext cx="2744319" cy="4115327"/>
          </a:xfrm>
          <a:prstGeom prst="rect">
            <a:avLst/>
          </a:prstGeom>
          <a:solidFill>
            <a:srgbClr val="00512A">
              <a:lumMod val="90000"/>
              <a:lumOff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2682B68-E14E-D122-C849-BAA999948C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10287" y="1195228"/>
            <a:ext cx="2744319" cy="4115327"/>
          </a:xfrm>
          <a:prstGeom prst="rect">
            <a:avLst/>
          </a:prstGeom>
          <a:solidFill>
            <a:srgbClr val="B2B3B5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8590C8B-A4F9-ECD5-E602-5E123DA222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54980" y="1195227"/>
            <a:ext cx="2744319" cy="4115327"/>
          </a:xfrm>
          <a:prstGeom prst="rect">
            <a:avLst/>
          </a:prstGeom>
          <a:solidFill>
            <a:srgbClr val="B2B3B5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</a:endParaRPr>
          </a:p>
        </p:txBody>
      </p:sp>
      <p:graphicFrame>
        <p:nvGraphicFramePr>
          <p:cNvPr id="35" name="Tabelle 34">
            <a:extLst>
              <a:ext uri="{FF2B5EF4-FFF2-40B4-BE49-F238E27FC236}">
                <a16:creationId xmlns:a16="http://schemas.microsoft.com/office/drawing/2014/main" id="{88909D96-23CD-098F-69BB-DA40FB87E17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-3175" y="1300735"/>
          <a:ext cx="10972800" cy="370840"/>
        </p:xfrm>
        <a:graphic>
          <a:graphicData uri="http://schemas.openxmlformats.org/drawingml/2006/table">
            <a:tbl>
              <a:tblPr firstRow="1" bandRow="1"/>
              <a:tblGrid>
                <a:gridCol w="2743200">
                  <a:extLst>
                    <a:ext uri="{9D8B030D-6E8A-4147-A177-3AD203B41FA5}">
                      <a16:colId xmlns:a16="http://schemas.microsoft.com/office/drawing/2014/main" val="1163355067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03118336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71783635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42473442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ression efficiency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st efficiency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iciency by uptime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 efficiency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223695"/>
                  </a:ext>
                </a:extLst>
              </a:tr>
            </a:tbl>
          </a:graphicData>
        </a:graphic>
      </p:graphicFrame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9B24E356-EEC0-8B22-B045-FC5A49E70037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0" y="4314171"/>
          <a:ext cx="10972800" cy="975360"/>
        </p:xfrm>
        <a:graphic>
          <a:graphicData uri="http://schemas.openxmlformats.org/drawingml/2006/table">
            <a:tbl>
              <a:tblPr firstRow="1" bandRow="1"/>
              <a:tblGrid>
                <a:gridCol w="2743200">
                  <a:extLst>
                    <a:ext uri="{9D8B030D-6E8A-4147-A177-3AD203B41FA5}">
                      <a16:colId xmlns:a16="http://schemas.microsoft.com/office/drawing/2014/main" val="1163355067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03118336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71783635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42473442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power pack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 power density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cellent delivery performance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motive heritage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ion know-how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lity and reliability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ive cost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ndant layout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ndancy by modularity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eration during service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3pPr>
                      <a:lvl4pPr marL="137149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4pPr>
                      <a:lvl5pPr marL="18286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5pPr>
                      <a:lvl6pPr marL="22858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6pPr>
                      <a:lvl7pPr marL="27429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7pPr>
                      <a:lvl8pPr marL="320016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8pPr>
                      <a:lvl9pPr marL="3657332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Bosch Office Sans"/>
                        </a:defRPr>
                      </a:lvl9pPr>
                    </a:lstStyle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ast replacement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ghtweight &amp; handy</a:t>
                      </a:r>
                    </a:p>
                    <a:p>
                      <a:pPr marL="179388" marR="0" lvl="0" indent="-179388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ircular economy &amp; REMAN</a:t>
                      </a:r>
                    </a:p>
                  </a:txBody>
                  <a:tcPr marL="198000" marT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223695"/>
                  </a:ext>
                </a:extLst>
              </a:tr>
            </a:tbl>
          </a:graphicData>
        </a:graphic>
      </p:graphicFrame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7153B0B9-EA84-22A7-88B7-9F1FD480F42D}"/>
              </a:ext>
            </a:extLst>
          </p:cNvPr>
          <p:cNvGrpSpPr/>
          <p:nvPr/>
        </p:nvGrpSpPr>
        <p:grpSpPr>
          <a:xfrm>
            <a:off x="444383" y="3530127"/>
            <a:ext cx="1695280" cy="540000"/>
            <a:chOff x="277659" y="3278891"/>
            <a:chExt cx="1695280" cy="540000"/>
          </a:xfrm>
          <a:solidFill>
            <a:sysClr val="window" lastClr="FFFFFF"/>
          </a:solidFill>
        </p:grpSpPr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C7D7A2A-CC0C-1DF1-E489-3595D3B3E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77659" y="3278891"/>
              <a:ext cx="540000" cy="540000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7A744187-4A44-3EFD-5920-7C50F88FD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55299" y="3278891"/>
              <a:ext cx="540000" cy="540000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B6824D3A-597A-26DE-5D9A-7133866ED4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432939" y="3278891"/>
              <a:ext cx="540000" cy="540000"/>
            </a:xfrm>
            <a:prstGeom prst="rect">
              <a:avLst/>
            </a:prstGeom>
          </p:spPr>
        </p:pic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BB8D1F3-5294-3A11-ED4A-B93624683949}"/>
              </a:ext>
            </a:extLst>
          </p:cNvPr>
          <p:cNvGrpSpPr/>
          <p:nvPr/>
        </p:nvGrpSpPr>
        <p:grpSpPr>
          <a:xfrm>
            <a:off x="3189742" y="3530127"/>
            <a:ext cx="1695280" cy="540000"/>
            <a:chOff x="277659" y="3278891"/>
            <a:chExt cx="1695280" cy="540000"/>
          </a:xfrm>
          <a:solidFill>
            <a:srgbClr val="00884A"/>
          </a:solidFill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40B66D6A-792E-0F11-F00C-4C7DB9150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77659" y="3278891"/>
              <a:ext cx="540000" cy="540000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58A44EC9-FAEA-5E7D-DD8E-ADD75A82E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55299" y="3278891"/>
              <a:ext cx="540000" cy="540000"/>
            </a:xfrm>
            <a:prstGeom prst="rect">
              <a:avLst/>
            </a:prstGeom>
          </p:spPr>
        </p:pic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D13CF283-20A0-BCFD-5B3C-40E97C894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432939" y="3278891"/>
              <a:ext cx="540000" cy="540000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8118762A-D8BB-127F-C384-C015DF83C242}"/>
              </a:ext>
            </a:extLst>
          </p:cNvPr>
          <p:cNvGrpSpPr/>
          <p:nvPr/>
        </p:nvGrpSpPr>
        <p:grpSpPr>
          <a:xfrm>
            <a:off x="5935101" y="3530127"/>
            <a:ext cx="1695280" cy="540000"/>
            <a:chOff x="277659" y="3278891"/>
            <a:chExt cx="1695280" cy="540000"/>
          </a:xfrm>
          <a:solidFill>
            <a:sysClr val="window" lastClr="FFFFFF"/>
          </a:solidFill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56C4200-ECC8-98B8-5AD2-28A3C0BBC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77659" y="3278891"/>
              <a:ext cx="540000" cy="540000"/>
            </a:xfrm>
            <a:prstGeom prst="rect">
              <a:avLst/>
            </a:prstGeom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2A5B1776-92DF-78CF-13B7-BA6E2A232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55299" y="3278891"/>
              <a:ext cx="540000" cy="540000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444ED43B-131B-91BD-C3C1-33E8D687C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432939" y="3278891"/>
              <a:ext cx="540000" cy="540000"/>
            </a:xfrm>
            <a:prstGeom prst="rect">
              <a:avLst/>
            </a:prstGeom>
          </p:spPr>
        </p:pic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9A796CA-7CCC-7BB0-39AF-5213EA52A701}"/>
              </a:ext>
            </a:extLst>
          </p:cNvPr>
          <p:cNvGrpSpPr/>
          <p:nvPr/>
        </p:nvGrpSpPr>
        <p:grpSpPr>
          <a:xfrm>
            <a:off x="8680459" y="3530127"/>
            <a:ext cx="1695280" cy="540000"/>
            <a:chOff x="277659" y="3278891"/>
            <a:chExt cx="1695280" cy="540000"/>
          </a:xfrm>
          <a:solidFill>
            <a:srgbClr val="00884A"/>
          </a:solidFill>
        </p:grpSpPr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2BE906E4-F323-2988-3C3D-06D8521D16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77659" y="3278891"/>
              <a:ext cx="540000" cy="540000"/>
            </a:xfrm>
            <a:prstGeom prst="rect">
              <a:avLst/>
            </a:prstGeom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311A5E70-4902-F476-B983-718212D90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55299" y="3278891"/>
              <a:ext cx="540000" cy="540000"/>
            </a:xfrm>
            <a:prstGeom prst="rect">
              <a:avLst/>
            </a:prstGeom>
          </p:spPr>
        </p:pic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41A942CD-D977-FC36-A966-E5B1A049E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432939" y="3278891"/>
              <a:ext cx="540000" cy="540000"/>
            </a:xfrm>
            <a:prstGeom prst="rect">
              <a:avLst/>
            </a:prstGeom>
          </p:spPr>
        </p:pic>
      </p:grpSp>
      <p:pic>
        <p:nvPicPr>
          <p:cNvPr id="53" name="Grafik 52">
            <a:extLst>
              <a:ext uri="{FF2B5EF4-FFF2-40B4-BE49-F238E27FC236}">
                <a16:creationId xmlns:a16="http://schemas.microsoft.com/office/drawing/2014/main" id="{7B73CF93-71B5-4CE7-51D9-149B41966561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3986" y="1806477"/>
            <a:ext cx="1917351" cy="1512277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93CB5403-865D-6EB9-344B-18F5E4E7124C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3223" y="1875203"/>
            <a:ext cx="1522271" cy="1524653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7A7F132A-4604-5479-37DB-11A14D6A283A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405" y="1761180"/>
            <a:ext cx="1480386" cy="1752697"/>
          </a:xfrm>
          <a:prstGeom prst="rect">
            <a:avLst/>
          </a:prstGeom>
        </p:spPr>
      </p:pic>
      <p:pic>
        <p:nvPicPr>
          <p:cNvPr id="56" name="Picture 2">
            <a:extLst>
              <a:ext uri="{FF2B5EF4-FFF2-40B4-BE49-F238E27FC236}">
                <a16:creationId xmlns:a16="http://schemas.microsoft.com/office/drawing/2014/main" id="{6CD15DFC-5E67-C224-7594-6456933B43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8898" y="2010570"/>
            <a:ext cx="1792973" cy="138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9850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MLTEMPLATE" val="presentation_169"/>
  <p:tag name="SAXMLCOMPANYNAME" val="bosch"/>
  <p:tag name="MLLANGUAGE" val="eng"/>
  <p:tag name="MLTEMPLATEVERSION" val="2.2"/>
  <p:tag name="SAXCONVERSION" val="2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r5PsHZNhhDjDkh0es7LvAEAAAAAAADAAAAAAADAAAAAwADAAAAAAD///////8DAAEA////////BQAAAAMAEAALJ4yKySH9HUuwNIq7+yY6bgQ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CAI4OAAAAAAAAAAAAAP/////GAMYAAAAFX2lkABAAAAAEyvk+wdk2GEOMOSHR6zsu8ANEYXRhAFMAAAAIUHJlc2VudGF0aW9uU2Nhbm5lZEZvckxpbmtlZFNoYXBlcwAAAk51bWJlckZvcm1hdFNlcGFyYXRvck1vZGUACgAAAEF1dG9tYXRpYwAAAk5hbWUAJAAAAExpbmtlZFNoYXBlUHJlc2VudGF0aW9uU2V0dGluZ3NEYXRhABBWZXJzaW9uAAAAAAAJTGFzdFdyaXRlAB9/kBaaAQAAAAEA/////4MAgwAAAAVfaWQAEAAAAAQnjIrJIf0dS7A0irv7JjpuA0RhdGEAGwAAAARMaW5rZWRTaGFwZURhdGEABQAAAAAAAk5hbWUAGQAAAExpbmtlZFNoYXBlc0RhdGFQcm9wZXJ0eQAQVmVyc2lvbgABAAAACUxhc3RXcml0ZQAUf5AW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ADwCwAAAAAAAAAAAAAgAf///////////////wAAAP///////////////wUAAAAC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BgEDAAAAAwD///////8aAAZMaW5rZWRTaGFwZXNEYXRhUHJvcGVydHlfMQQAAAABAAUAAAACAAUAAAABAAUAAAAAAP///////w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69119599240906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4xE3C6IsVJCu1dzOu2hSFAEAAAAAAADAAAAAAADAAAAAwADAAEA////////BQAAAAMAEAALjGpsbTTZeU29j7K4GBupzgQAAAABAAMAAAACAAMAAAAEAAQAAQD///////8FAAAABAAQAAv5KIuXTWH7QKQ5wAZRfUx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ETcLoixUkK7V3M67aFIUAREYXRhAAUAAAAAAk5hbWUADQAAAExpbmtEYXRhTGlzdAAQVmVyc2lvbgABAAAACUxhc3RXcml0ZQCcRl2IlAEAAAABAP////9hAGEAAAAFX2lkABAAAAAEjGpsbTTZeU29j7K4GBupzgREYXRhAAUAAAAAAk5hbWUADQAAAExpbmtEYXRhTGlzdAAQVmVyc2lvbgAAAAAACUxhc3RXcml0ZQCbRl2IlAEAAAACAP////9wAHAAAAAFX2lkABAAAAAE+SiLl01h+0CkOcAGUX1MUwNEYXRhABYAAAACUGVyc29uYWxJZAABAAAAAAACTmFtZQALAAAAUGVyc29uYWxJZAAQVmVyc2lvbgAAAAAACUxhc3RXcml0ZQCtR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D///////8FAAAAAwD///////8FAAAAAAD///////8DAAMBAwAAAAMA////////DgAGTGlua0RhdGFMaXN0XzAEAAAAAQAFAAAAAAAFAAAAAg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9168177"/>
  <p:tag name="EMPOWERCHARTSPROPERTIES_B_LENGTH" val="24576"/>
  <p:tag name="RUNTIME_ID" val="ba843d48-08dd-4c85-80bd-beb9150c423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c18QMutwJBlIaFZd1VEw0EAAAAAAADAAAAAAADAAAAAwADAAAAAAADAAAABAADAAEA////////BQAAAAMAEAALI3njkGYyoUO7OI5s9bYdFAQAAAABAAMAAAACAAMAAAAEAAQAAgD///////8FAAAABAAQAAtJYzHlK1VzTr2svop6NN/i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zXxAy63AkGUhoVl3VUTDQREYXRhAAUAAAAAAk5hbWUADQAAAExpbmtEYXRhTGlzdAAQVmVyc2lvbgABAAAACUxhc3RXcml0ZQDcRl2IlAEAAAABAP////9hAGEAAAAFX2lkABAAAAAEI3njkGYyoUO7OI5s9bYdFAREYXRhAAUAAAAAAk5hbWUADQAAAExpbmtEYXRhTGlzdAAQVmVyc2lvbgAAAAAACUxhc3RXcml0ZQDaRl2IlAEAAAACAP////9wAHAAAAAFX2lkABAAAAAESWMx5StVc069rL6KejTf4gNEYXRhABYAAAACUGVyc29uYWxJZAABAAAAAAACTmFtZQALAAAAUGVyc29uYWxJZAAQVmVyc2lvbgAAAAAACUxhc3RXcml0ZQDuR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9807345"/>
  <p:tag name="EMPOWERCHARTSPROPERTIES_B_LENGTH" val="24576"/>
  <p:tag name="RUNTIME_ID" val="bdef589b-d04f-473a-834b-ec25cba2e52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5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2CtR0y1acRBqF3e9omkJa4EAAAAAAADAAAABAADAAAAAwADAAAABAADAAAAAwADAAAAAAD///////8DAAIA////////BQAAAAMAEAALCU0AT8FZbU+MvZnVgTeZ4AQAAAABAAMAAAACAAMAAAABAAMAAAACAP///////wQAAgD///////8FAAAABAAQAAt2essAaB0tQZYtrCzSAfiF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K1HTLVpxEGoXd72iaQlrgREYXRhAAUAAAAAAk5hbWUADQAAAExpbmtEYXRhTGlzdAAQVmVyc2lvbgAAAAAACUxhc3RXcml0ZQAMR12IlAEAAAABAP////9hAGEAAAAFX2lkABAAAAAECU0AT8FZbU+MvZnVgTeZ4AREYXRhAAUAAAAAAk5hbWUADQAAAExpbmtEYXRhTGlzdAAQVmVyc2lvbgABAAAACUxhc3RXcml0ZQANR12IlAEAAAACAP////9wAHAAAAAFX2lkABAAAAAEdnrLAGgdLUGWLaws0gH4hQNEYXRhABYAAAACUGVyc29uYWxJZAABAAAAAAACTmFtZQALAAAAUGVyc29uYWxJZAAQVmVyc2lvbgAAAAAACUxhc3RXcml0ZQAdR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0299188"/>
  <p:tag name="EMPOWERCHARTSPROPERTIES_B_LENGTH" val="24576"/>
  <p:tag name="RUNTIME_ID" val="f8339a1d-364f-4bc5-bd74-c61c835a788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ql5lnzf6tLr16o+IeF6jgEAAAAAAADAAAAAAADAAAABAADAAEA////////BQAAAAMAEAALQAkWoN0zCEih2jEgvzbD6QQAAAABAAMAAAAEAAMAAAABAAQAAQD///////8FAAAABAAQAAsL44OQ/yVmSbDOWEiCfhq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qXmWfN/q0uvXqj4h4XqOAREYXRhAAUAAAAAAk5hbWUADQAAAExpbmtEYXRhTGlzdAAQVmVyc2lvbgABAAAACUxhc3RXcml0ZQBBR12IlAEAAAABAP////9hAGEAAAAFX2lkABAAAAAEQAkWoN0zCEih2jEgvzbD6QREYXRhAAUAAAAAAk5hbWUADQAAAExpbmtEYXRhTGlzdAAQVmVyc2lvbgAAAAAACUxhc3RXcml0ZQA+R12IlAEAAAACAP////9wAHAAAAAFX2lkABAAAAAEC+ODkP8lZkmwzlhIgn4apwNEYXRhABYAAAACUGVyc29uYWxJZAABAAAAAAACTmFtZQALAAAAUGVyc29uYWxJZAAQVmVyc2lvbgAAAAAACUxhc3RXcml0ZQBUR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MBAwAAAAQA////////DAAGUGVyc29uYWxJZF8wBAAAAAIABQAAAAIABQAAAAEABQAAAAI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0878650"/>
  <p:tag name="EMPOWERCHARTSPROPERTIES_B_LENGTH" val="24576"/>
  <p:tag name="RUNTIME_ID" val="f5c085e5-2ad0-40b2-b033-5b87d157a8d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RSdr74/W5Ds8txVbLv4GEEAAAAAAADAAAAAAADAAAAAwADAAAAAAD///////8DAAEA////////BQAAAAMAEAALPjWB1O6nS06ET2xOwE3YPgQAAAABAAMAAAACAAMAAAAEAAQAAQD///////8FAAAABAAQAAt/Nf/v/ozBRqv5eTHjT0s/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9FJ2vvj9bkOzy3FVsu/gYQREYXRhAAUAAAAAAk5hbWUADQAAAExpbmtEYXRhTGlzdAAQVmVyc2lvbgAAAAAACUxhc3RXcml0ZQB7R12IlAEAAAABAP////9hAGEAAAAFX2lkABAAAAAEPjWB1O6nS06ET2xOwE3YPgREYXRhAAUAAAAAAk5hbWUADQAAAExpbmtEYXRhTGlzdAAQVmVyc2lvbgABAAAACUxhc3RXcml0ZQB7R12IlAEAAAACAP////9wAHAAAAAFX2lkABAAAAAEfzX/7/6MwUar+Xkx409LPwNEYXRhABYAAAACUGVyc29uYWxJZAABAAAAAAACTmFtZQALAAAAUGVyc29uYWxJZAAQVmVyc2lvbgAAAAAACUxhc3RXcml0ZQCOR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C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YBAwAAAAMA////////DgAGTGlua0RhdGFMaXN0XzEEAAAAAQAFAAAAAgAFAAAABAAFAAAAAAAFAAAABAAFAAAAAAAFAAAABAAFAAAAAAD///////8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1427574"/>
  <p:tag name="EMPOWERCHARTSPROPERTIES_B_LENGTH" val="24576"/>
  <p:tag name="RUNTIME_ID" val="7f5a8f6d-3188-4bf0-92b3-b402eaacd8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gBAQEBAQEBAQEBAQEBAQMAAAAAAAAAAwAAAAMAAAAA/////wUA2gsAAAAAAAAAAAAAIAD///////////////8AAAD///////////////8DAAAAAgD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0U5xQHpruhGl/eMyap430cEAAAAAAADAAAAAAADAAAABAADAAAAAAADAAAAAwADAAAAAAADAAAAAwADAAQA////////BQAAAAMAEAALM67DdmkqUUuhMsxGgxMHkgQAAAABAAMAAAAEAAMAAAABAAMAAAACAP///////wMAAAACAP///////wMAAAAAAP///////wQAAQD///////8FAAAABAAQAAsRGqAdtpr0QJqlgWuaLPmW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TnFAemu6EaX94zJqnjfRwREYXRhAAUAAAAAAk5hbWUADQAAAExpbmtEYXRhTGlzdAAQVmVyc2lvbgABAAAACUxhc3RXcml0ZQCwR12IlAEAAAABAP////9hAGEAAAAFX2lkABAAAAAEM67DdmkqUUuhMsxGgxMHkgREYXRhAAUAAAAAAk5hbWUADQAAAExpbmtEYXRhTGlzdAAQVmVyc2lvbgAAAAAACUxhc3RXcml0ZQCtR12IlAEAAAACAP////9wAHAAAAAFX2lkABAAAAAEERqgHbaa9ECapYFrmiz5lgNEYXRhABYAAAACUGVyc29uYWxJZAABAAAAAAACTmFtZQALAAAAUGVyc29uYWxJZAAQVmVyc2lvbgAAAAAACUxhc3RXcml0ZQDCR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DAP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gBAwAAAAMA////////DgAGTGlua0RhdGFMaXN0XzAEAAAAAQAFAAAAAAAFAAAAAgAFAAAAAAD///////8FAAAAAAD///////8FAAAAAAD///////8FAAAAAAD///////8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1963470"/>
  <p:tag name="EMPOWERCHARTSPROPERTIES_B_LENGTH" val="24576"/>
  <p:tag name="RUNTIME_ID" val="e8af8452-b13e-44bb-b879-3ccda2c221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/////wUA2gsAAAAAAAAAAAAAIAD///////////////8AAAD///////////////8DAAAABAD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6ChO0g+kWpMvwBQdPBoRCEEAAAAAAADAAAABAADAAAAAwADAAAABAADAAAAAwADAAAAAAD///////8DAAAAAAD///////8DAAIA////////BQAAAAMAEAALmgtE4rrMj0GKX+kd0AjTpwQAAAABAAMAAAACAAMAAAABAAMAAAACAP///////wQAAgD///////8FAAAABAAQAAuKajsZIOeOSq/dmR8+VPaq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KE7SD6Raky/AFB08GhEIQREYXRhAAUAAAAAAk5hbWUADQAAAExpbmtEYXRhTGlzdAAQVmVyc2lvbgABAAAACUxhc3RXcml0ZQDsR12IlAEAAAABAP////9hAGEAAAAFX2lkABAAAAAEmgtE4rrMj0GKX+kd0AjTpwREYXRhAAUAAAAAAk5hbWUADQAAAExpbmtEYXRhTGlzdAAQVmVyc2lvbgAAAAAACUxhc3RXcml0ZQDsR12IlAEAAAACAP////9wAHAAAAAFX2lkABAAAAAEimo7GSDnjkqv3ZkfPlT2qgNEYXRhABYAAAACUGVyc29uYWxJZAABAAAAAAACTmFtZQALAAAAUGVyc29uYWxJZAAQVmVyc2lvbgAAAAAACUxhc3RXcml0ZQD/R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AFAAAABAAFAAAAAAAFAAAABAADAAIBAwAAAAMA////////DgAGTGlua0RhdGFMaXN0XzAEAAAAAQAFAAAAAAAFAAAAAgAFAAAAAAAFAAAAAgAEAAMBAwAAAAQA////////DAAGUGVyc29uYWxJZF8wBAAAAAIABQAAAAI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2566896"/>
  <p:tag name="EMPOWERCHARTSPROPERTIES_B_LENGTH" val="24576"/>
  <p:tag name="RUNTIME_ID" val="617256ad-82a7-4332-8e2c-1db8dd2c1cb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fiyE1wcYxBvKyn8N5M1lIEAAAAAAADAAAAAAADAAAABAADAAAAAAD///////8DAAAAAAD///////8DAAAAAAD///////8DAAEA////////BQAAAAMAEAALv6yYtxEJO0CrWC+F9J8mXgQAAAABAAMAAAAEAAMAAAABAAQAAQD///////8FAAAABAAQAAt/Yipg42uFRpo5L83kkbmU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B+LITXBxjEG8rKfw3kzWUgREYXRhAAUAAAAAAk5hbWUADQAAAExpbmtEYXRhTGlzdAAQVmVyc2lvbgABAAAACUxhc3RXcml0ZQAfSF2IlAEAAAABAP////9hAGEAAAAFX2lkABAAAAAEv6yYtxEJO0CrWC+F9J8mXgREYXRhAAUAAAAAAk5hbWUADQAAAExpbmtEYXRhTGlzdAAQVmVyc2lvbgAAAAAACUxhc3RXcml0ZQAfSF2IlAEAAAACAP////9wAHAAAAAFX2lkABAAAAAEf2IqYONrhUaaOS/N5JG5lANEYXRhABYAAAACUGVyc29uYWxJZAABAAAAAAACTmFtZQALAAAAUGVyc29uYWxJZAAQVmVyc2lvbgAAAAAACUxhc3RXcml0ZQAySF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3075208"/>
  <p:tag name="EMPOWERCHARTSPROPERTIES_B_LENGTH" val="24576"/>
  <p:tag name="RUNTIME_ID" val="ddf24d41-f14d-4b8b-bc25-f0add4f24e3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r1a1DVXHFHjQ4xEoqyn1IEAAAAAAADAAAAAAADAAAAAwADAAMA////////BQAAAAMAEAAL5Rh8VnqU0kSXd+TGU9jwQAQAAAABAAMAAAACAAMAAAAEAAMAAAAAAP///////wMAAAAAAP///////wQAAQD///////8FAAAABAAQAAscQWPYr/5XSZyalqGIQ23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vVrUNVccUeNDjESirKfUgREYXRhAAUAAAAAAk5hbWUADQAAAExpbmtEYXRhTGlzdAAQVmVyc2lvbgAAAAAACUxhc3RXcml0ZQBSSF2IlAEAAAABAP////9hAGEAAAAFX2lkABAAAAAE5Rh8VnqU0kSXd+TGU9jwQAREYXRhAAUAAAAAAk5hbWUADQAAAExpbmtEYXRhTGlzdAAQVmVyc2lvbgABAAAACUxhc3RXcml0ZQBTSF2IlAEAAAACAP////9wAHAAAAAFX2lkABAAAAAEHEFj2K/+V0mcmpahiENt3wNEYXRhABYAAAACUGVyc29uYWxJZAABAAAAAAACTmFtZQALAAAAUGVyc29uYWxJZAAQVmVyc2lvbgAAAAAACUxhc3RXcml0ZQBnSF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3624378"/>
  <p:tag name="EMPOWERCHARTSPROPERTIES_B_LENGTH" val="24576"/>
  <p:tag name="RUNTIME_ID" val="497129c7-506d-4489-bfbe-6b4a6dba72b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VuQVJvY/hMoswC+K+n+D8EAAAAAAADAAAAAAADAAAAAwADAAIA////////BQAAAAMAEAALiKhPbSECvkmVj+ZHH3xMoAQAAAABAAMAAAACAAMAAAAEAAMAAAAAAP///////wQAAQD///////8FAAAABAAQAAthYyd/HaMfSp0MTFYBnN/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W5BUm9j+EyizAL4r6f4PwREYXRhAAUAAAAAAk5hbWUADQAAAExpbmtEYXRhTGlzdAAQVmVyc2lvbgAAAAAACUxhc3RXcml0ZQCRSF2IlAEAAAABAP////9hAGEAAAAFX2lkABAAAAAEiKhPbSECvkmVj+ZHH3xMoAREYXRhAAUAAAAAAk5hbWUADQAAAExpbmtEYXRhTGlzdAAQVmVyc2lvbgABAAAACUxhc3RXcml0ZQCRSF2IlAEAAAACAP////9wAHAAAAAFX2lkABAAAAAEYWMnfx2jH0qdDExWAZzf4QNEYXRhABYAAAACUGVyc29uYWxJZAABAAAAAAACTmFtZQALAAAAUGVyc29uYWxJZAAQVmVyc2lvbgAAAAAACUxhc3RXcml0ZQCiSF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MBAwAAAAQA////////DAAGUGVyc29uYWxJZF8wBAAAAAIABQAAAAM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4173327"/>
  <p:tag name="EMPOWERCHARTSPROPERTIES_B_LENGTH" val="24576"/>
  <p:tag name="RUNTIME_ID" val="8125b645-ed63-4332-97a6-9d2af9422d5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QuKCFmMEVBoppbur9eXRMEAAAAAAADAAAAAAADAAAABAADAAEA////////BQAAAAMAEAALno74prcbJ0OyR0a4dV7NbwQAAAABAAMAAAAEAAMAAAABAAQAAgD///////8FAAAABAAQAAsvD+pueQ7SRp1slJbrlrl+BAAAAAIAAwAAAAIAAwAAAAM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C4oIWYwRUGimlu6v15dEwREYXRhAAUAAAAAAk5hbWUADQAAAExpbmtEYXRhTGlzdAAQVmVyc2lvbgABAAAACUxhc3RXcml0ZQDxX/ZllQEAAAABAP////9hAGEAAAAFX2lkABAAAAAEno74prcbJ0OyR0a4dV7NbwREYXRhAAUAAAAAAk5hbWUADQAAAExpbmtEYXRhTGlzdAAQVmVyc2lvbgAAAAAACUxhc3RXcml0ZQDwX/ZllQEAAAACAP////9wAHAAAAAFX2lkABAAAAAELw/qbnkO0kadbJSW65a5fgNEYXRhABYAAAACUGVyc29uYWxJZAABAAAAAAACTmFtZQALAAAAUGVyc29uYWxJZAAQVmVyc2lvbgAAAAAACUxhc3RXcml0ZQAKYP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92001543641"/>
  <p:tag name="EMPOWERCHARTSPROPERTIES_B_LENGTH" val="24576"/>
  <p:tag name="RUNTIME_ID" val="6b426253-9afc-4311-8b9c-db790989b9a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t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8b8TgjT5PtGkYDgTPRfz1UEAAAAAAADAAAAAAADAAAAAwADAAAAAAADAAAABAADAAAAAAADAAAABAADAAAAAAADAAAABAADAAAAAAADAAAABAADAAEA////////BQAAAAMAEAALrKikFYZf1UyzIQA5v1lvYQQAAAABAAMAAAACAAMAAAAEAAQABQD///////8FAAAABAAQAAv9dnHNksBVR5xY48p6gfqjBAAAAAIAAwAAAAMAAwAAAAEAAwAAAAIA////////AwAAAAIA////////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vxOCNPk+0aRgOBM9F/PVQREYXRhAAUAAAAAAk5hbWUADQAAAExpbmtEYXRhTGlzdAAQVmVyc2lvbgABAAAACUxhc3RXcml0ZQC/SF2IlAEAAAABAP////9hAGEAAAAFX2lkABAAAAAErKikFYZf1UyzIQA5v1lvYQREYXRhAAUAAAAAAk5hbWUADQAAAExpbmtEYXRhTGlzdAAQVmVyc2lvbgAAAAAACUxhc3RXcml0ZQC/SF2IlAEAAAACAP////9wAHAAAAAFX2lkABAAAAAE/XZxzZLAVUecWOPKeoH6owNEYXRhABYAAAACUGVyc29uYWxJZAABAAAAAAACTmFtZQALAAAAUGVyc29uYWxJZAAQVmVyc2lvbgAAAAAACUxhc3RXcml0ZQAUS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5315984"/>
  <p:tag name="EMPOWERCHARTSPROPERTIES_B_LENGTH" val="24576"/>
  <p:tag name="RUNTIME_ID" val="582bdcdc-d5c6-4e06-9b1d-262f5756cd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QUBAQEBAQEBAQEBAQEBAQMAAAAAAAAAAwAAAAMAAAAA/////wUAMgsAAAAAAAAAAAAAIAD///////////////8AAAD///////////////8DAAAABAD///////8DAAAABAD///////8DAAAAAgD///////8DAAAAAgD///////8DAAAAAgD///////8DAAAAAgD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RAP///////wUAAAACABAAC4hFJapSxVVCqg62dRJyO0YEAAAAAAADAAAABAADAAAAAwADAAAABAADAAAAAwADAAAAAAADAAAAAwADAAAAAAD///////8DAAAAAAD///////8DAAAAAAD///////8DAAAAAAD///////8DAAAAAAD///////8DAAAAAAD///////8DAAAAAAD///////8DAAAAAAD///////8DAAAAAAD///////8DAAAAAAD///////8DAAAAAAD///////8DAAAAAAD///////8DAAAAAAD///////8DAAAAAAD///////8DAAMA////////BQAAAAMAEAAL1/3z1O/kLUy+nN0i0JvIvwQAAAABAAMAAAACAAMAAAABAAMAAAACAP///////wMAAAACAP///////wQAAgD///////8FAAAABAAQAAtG8+on6RpzQoNa1kzrgQF/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iEUlqlLFVUKqDrZ1EnI7RgREYXRhAAUAAAAAAk5hbWUADQAAAExpbmtEYXRhTGlzdAAQVmVyc2lvbgAAAAAACUxhc3RXcml0ZQAySV2IlAEAAAABAP////9hAGEAAAAFX2lkABAAAAAE1/3z1O/kLUy+nN0i0JvIvwREYXRhAAUAAAAAAk5hbWUADQAAAExpbmtEYXRhTGlzdAAQVmVyc2lvbgABAAAACUxhc3RXcml0ZQAySV2IlAEAAAACAP////9wAHAAAAAFX2lkABAAAAAERvPqJ+kac0KDWtZM64EBfwNEYXRhABYAAAACUGVyc29uYWxJZAABAAAAAAACTmFtZQALAAAAUGVyc29uYWxJZAAQVmVyc2lvbgAAAAAACUxhc3RXcml0ZQBDS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UBAwAAAAQA////////DAAGUGVyc29uYWxJZF8wBAAAAAIABQAAAAMABQAAAAEABQAAAAI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5791351"/>
  <p:tag name="EMPOWERCHARTSPROPERTIES_B_LENGTH" val="24576"/>
  <p:tag name="RUNTIME_ID" val="9e80475d-4a1a-4df2-ad04-59951e8c294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/////wUA5gsAAAAAAAAAAAAAIAD///////////////8AAAD///////////////8DAAAAAg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mkig+PVipDnMAnilmzcP0EAAAAAAADAAAAAAADAAAAAwADAAUA////////BQAAAAMAEAAL7wPzFfQpiECDy4kGrJUrngQAAAABAAMAAAACAAMAAAAEAAMAAAAAAP///////wMAAAAAAP///////wMAAAAAAP///////wMAAAAAAP///////wQAAQD///////8FAAAABAAQAAtywp7vwD0fSKJL2WUywqd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aaSKD49WKkOcwCeKWbNw/QREYXRhAAUAAAAAAk5hbWUADQAAAExpbmtEYXRhTGlzdAAQVmVyc2lvbgABAAAACUxhc3RXcml0ZQB7SV2IlAEAAAABAP////9hAGEAAAAFX2lkABAAAAAE7wPzFfQpiECDy4kGrJUrngREYXRhAAUAAAAAAk5hbWUADQAAAExpbmtEYXRhTGlzdAAQVmVyc2lvbgAAAAAACUxhc3RXcml0ZQB7SV2IlAEAAAACAP////9wAHAAAAAFX2lkABAAAAAEcsKe78A9H0iiS9llMsKnQwNEYXRhABYAAAACUGVyc29uYWxJZAABAAAAAAACTmFtZQALAAAAUGVyc29uYWxJZAAQVmVyc2lvbgAAAAAACUxhc3RXcml0ZQCMS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6521463"/>
  <p:tag name="EMPOWERCHARTSPROPERTIES_B_LENGTH" val="24576"/>
  <p:tag name="RUNTIME_ID" val="92d237fd-e73f-42ca-8f43-2c5edb7ed50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2gsAAAAAAAAAAAAAIAD///////////////8AAAD///////////////8DAAAABAD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0YDt1j7ALVJkg0pT9LxGoAEAAAAAAADAAAABAADAAAAAwADAAAAAAADAAAAAwADAAAAAAADAAAAAwADAAQA////////BQAAAAMAEAALrBFopUPqMEiQBdBRVWlrHQQAAAABAAMAAAACAAMAAAABAAMAAAACAP///////wMAAAACAP///////wMAAAAAAP///////wQAAQD///////8FAAAABAAQAAuVHQIXsyIPRrBXBWbqNox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gO3WPsAtUmSDSlP0vEagAREYXRhAAUAAAAAAk5hbWUADQAAAExpbmtEYXRhTGlzdAAQVmVyc2lvbgABAAAACUxhc3RXcml0ZQCqSV2IlAEAAAABAP////9hAGEAAAAFX2lkABAAAAAErBFopUPqMEiQBdBRVWlrHQREYXRhAAUAAAAAAk5hbWUADQAAAExpbmtEYXRhTGlzdAAQVmVyc2lvbgAAAAAACUxhc3RXcml0ZQCqSV2IlAEAAAACAP////9wAHAAAAAFX2lkABAAAAAElR0CF7MiD0awVwVm6jaMbANEYXRhABYAAAACUGVyc29uYWxJZAABAAAAAAACTmFtZQALAAAAUGVyc29uYWxJZAAQVmVyc2lvbgAAAAAACUxhc3RXcml0ZQC8S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7005500"/>
  <p:tag name="EMPOWERCHARTSPROPERTIES_B_LENGTH" val="24576"/>
  <p:tag name="RUNTIME_ID" val="91c2d313-2d23-4cc7-ba65-3b2a29cb2f3b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uuKS+kq59Eg7d8p7kf8RUEAAAAAAADAAAAAAADAAAABAADAAAAAAADAAAABAADAAAAAAD///////8DAAEA////////BQAAAAMAEAALraBxyS9v7EmOl74+YiL30wQAAAABAAMAAAAEAAMAAAABAAQAAgD///////8FAAAABAAQAAtcLw6L3PJRTqUbxwkK/VosBAAAAAIAAwAAAAIAAwAAAAM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64pL6Srn0SDt3ynuR/xFQREYXRhAAUAAAAAAk5hbWUADQAAAExpbmtEYXRhTGlzdAAQVmVyc2lvbgABAAAACUxhc3RXcml0ZQDfSV2IlAEAAAABAP////9hAGEAAAAFX2lkABAAAAAEraBxyS9v7EmOl74+YiL30wREYXRhAAUAAAAAAk5hbWUADQAAAExpbmtEYXRhTGlzdAAQVmVyc2lvbgAAAAAACUxhc3RXcml0ZQDfSV2IlAEAAAACAP////9wAHAAAAAFX2lkABAAAAAEXC8Oi9zyUU6lG8cJCv1aLANEYXRhABYAAAACUGVyc29uYWxJZAABAAAAAAACTmFtZQALAAAAUGVyc29uYWxJZAAQVmVyc2lvbgAAAAAACUxhc3RXcml0ZQDzS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AFAAAABAAFAAAAAAD///////8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7572967"/>
  <p:tag name="EMPOWERCHARTSPROPERTIES_B_LENGTH" val="24576"/>
  <p:tag name="RUNTIME_ID" val="0c049fd1-0393-4a9a-b923-85c66e2882c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EBAQEBAQEBAQEBAQEBAQMAAAAAAAAAAwAAAAMAAAAA/////wUA2gsAAAAAAAAAAAAAIAD///////////////8AAAD///////////////8DAAAABA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q1BavxTL9OnOC8ADMIeUMEAAAAAAADAAAABAADAAAAAwADAAYA////////BQAAAAMAEAAL7lTmtNU+WEKkxbrIBgKspAQAAAABAAMAAAACAAMAAAABAAMAAAAAAP///////wMAAAAAAP///////wMAAAAAAP///////wMAAAAAAP///////wMAAAAAAP///////wQAAQD///////8FAAAABAAQAAsQXbiGsks7QKZNahiq0bV0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rUFq/FMv06c4LwAMwh5QwREYXRhAAUAAAAAAk5hbWUADQAAAExpbmtEYXRhTGlzdAAQVmVyc2lvbgABAAAACUxhc3RXcml0ZQAaSl2IlAEAAAABAP////9hAGEAAAAFX2lkABAAAAAE7lTmtNU+WEKkxbrIBgKspAREYXRhAAUAAAAAAk5hbWUADQAAAExpbmtEYXRhTGlzdAAQVmVyc2lvbgAAAAAACUxhc3RXcml0ZQAaSl2IlAEAAAACAP////9wAHAAAAAFX2lkABAAAAAEEF24hrJLO0CmTWoYqtG1dANEYXRhABYAAAACUGVyc29uYWxJZAABAAAAAAACTmFtZQALAAAAUGVyc29uYWxJZAAQVmVyc2lvbgAAAAAACUxhc3RXcml0ZQAtS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8152747"/>
  <p:tag name="EMPOWERCHARTSPROPERTIES_B_LENGTH" val="24576"/>
  <p:tag name="RUNTIME_ID" val="ecadb277-f424-4a2a-acc8-14122640b79b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8gsAAAAAAAAAAAAAIAD///////////////8AAAD///////////////8DAAAABA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+aQla9zQNCp8hxpfK2Gf8EAAAAAAADAAAABAADAAAAAwADAAQA////////BQAAAAMAEAALFWxyrotsK0GoW3Ed6U+AOQQAAAABAAMAAAACAAMAAAABAAMAAAAAAP///////wMAAAAAAP///////wMAAAAAAP///////wQAAQD///////8FAAAABAAQAAu1+B8faNW7RoW7PP7UPYup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5pCVr3NA0KnyHGl8rYZ/wREYXRhAAUAAAAAAk5hbWUADQAAAExpbmtEYXRhTGlzdAAQVmVyc2lvbgABAAAACUxhc3RXcml0ZQBRSl2IlAEAAAABAP////9hAGEAAAAFX2lkABAAAAAEFWxyrotsK0GoW3Ed6U+AOQREYXRhAAUAAAAAAk5hbWUADQAAAExpbmtEYXRhTGlzdAAQVmVyc2lvbgAAAAAACUxhc3RXcml0ZQBRSl2IlAEAAAACAP////9wAHAAAAAFX2lkABAAAAAEtfgfH2jVu0aFuzz+1D2LqQNEYXRhABYAAAACUGVyc29uYWxJZAABAAAAAAACTmFtZQALAAAAUGVyc29uYWxJZAAQVmVyc2lvbgAAAAAACUxhc3RXcml0ZQBlS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8721856"/>
  <p:tag name="EMPOWERCHARTSPROPERTIES_B_LENGTH" val="24576"/>
  <p:tag name="RUNTIME_ID" val="d587cab9-290d-4460-a12f-ba7dc0b4f6e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ziq/SjUnHdPmTvmJKWYcHQEAAAAAAADAAAABAADAAAAAwADAAAABAD///////8DAAAAAAD///////8DAAEA////////BQAAAAMAEAALPwVsl+UAbUOJ/iC8E76E3wQAAAABAAMAAAACAAMAAAABAAQAAgD///////8FAAAABAAQAAsSbY0jK+R+SrKp+cs17prP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OKr9KNScd0+ZO+YkpZhwdAREYXRhAAUAAAAAAk5hbWUADQAAAExpbmtEYXRhTGlzdAAQVmVyc2lvbgAAAAAACUxhc3RXcml0ZQCMSl2IlAEAAAABAP////9hAGEAAAAFX2lkABAAAAAEPwVsl+UAbUOJ/iC8E76E3wREYXRhAAUAAAAAAk5hbWUADQAAAExpbmtEYXRhTGlzdAAQVmVyc2lvbgABAAAACUxhc3RXcml0ZQCNSl2IlAEAAAACAP////9wAHAAAAAFX2lkABAAAAAEEm2NIyvkfkqyqfnLNe6azwNEYXRhABYAAAACUGVyc29uYWxJZAABAAAAAAACTmFtZQALAAAAUGVyc29uYWxJZAAQVmVyc2lvbgAAAAAACUxhc3RXcml0ZQChS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K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AFAAAAAwAFAAAAAAAFAAAAAwADAAQBAwAAAAMA////////DgAGTGlua0RhdGFMaXN0XzEEAAAAAQAFAAAAAgAFAAAABAAFAAAAAgAFAAAABAAFAAAAAgD///////8FAAAAAg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9302486"/>
  <p:tag name="EMPOWERCHARTSPROPERTIES_B_LENGTH" val="24576"/>
  <p:tag name="RUNTIME_ID" val="3d2fdb20-7463-422a-9b80-e674a631ed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qogj53hfRFq/xP9z7osDcEAAAAAAADAAAAAAADAAAABAADAAEA////////BQAAAAMAEAAL8ppC9jZDN0qZy4KpXvgg7AQAAAABAAMAAAAEAAMAAAABAAQAAQD///////8FAAAABAAQAAt9K1FP5WV0SITpquqrn0z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qiCPneF9EWr/E/3PuiwNwREYXRhAAUAAAAAAk5hbWUADQAAAExpbmtEYXRhTGlzdAAQVmVyc2lvbgAAAAAACUxhc3RXcml0ZQDLSl2IlAEAAAABAP////9hAGEAAAAFX2lkABAAAAAE8ppC9jZDN0qZy4KpXvgg7AREYXRhAAUAAAAAAk5hbWUADQAAAExpbmtEYXRhTGlzdAAQVmVyc2lvbgABAAAACUxhc3RXcml0ZQDLSl2IlAEAAAACAP////9wAHAAAAAFX2lkABAAAAAEfStRT+VldEiE6arqq59MwwNEYXRhABYAAAACUGVyc29uYWxJZAABAAAAAAACTmFtZQALAAAAUGVyc29uYWxJZAAQVmVyc2lvbgAAAAAACUxhc3RXcml0ZQDcS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MBAwAAAAQA////////DAAGUGVyc29uYWxJZF8wBAAAAAIABQAAAAMABQAAAAE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29873907"/>
  <p:tag name="EMPOWERCHARTSPROPERTIES_B_LENGTH" val="24576"/>
  <p:tag name="RUNTIME_ID" val="adb2c422-c226-49b0-9ca1-11cc06d0c5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IBAQEBAQEBAQEBAQEBAQMAAAAAAAAAAwAAAAMAAAAA/////wUAqgsAAAAAAAAAAAAAIAD///////////////8AAAD///////////////8DAAAABAD///////8DAAAABAD///////8DAAAABAD///////8DAAAABAD///////8DAAAABAD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+T9mu/IgtPh9CLZvN4B08EAAAAAAADAAAABAADAAAAAwADAAEA////////BQAAAAMAEAALcE3nmy8oLE2LObgiDMDaqAQAAAABAAMAAAACAAMAAAABAAQACgD///////8FAAAABAAQAAvlCGEPnyJXR5eV+rraRQ9LBAAAAAIAAwAAAAAAAwAAAAIAAwAAAAAA////////AwAAAAAA////////AwAAAAAA////////AwAAAAAA////////AwAAAAAA////////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5P2a78iC0+H0Itm83gHTwREYXRhAAUAAAAAAk5hbWUADQAAAExpbmtEYXRhTGlzdAAQVmVyc2lvbgABAAAACUxhc3RXcml0ZQD+Sl2IlAEAAAABAP////9hAGEAAAAFX2lkABAAAAAEcE3nmy8oLE2LObgiDMDaqAREYXRhAAUAAAAAAk5hbWUADQAAAExpbmtEYXRhTGlzdAAQVmVyc2lvbgAAAAAACUxhc3RXcml0ZQD+Sl2IlAEAAAACAP////9wAHAAAAAFX2lkABAAAAAE5QhhD58iV0eXlfq62kUPSwNEYXRhABYAAAACUGVyc29uYWxJZAABAAAAAAACTmFtZQALAAAAUGVyc29uYWxJZAAQVmVyc2lvbgAAAAAACUxhc3RXcml0ZQATS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30448900"/>
  <p:tag name="EMPOWERCHARTSPROPERTIES_B_LENGTH" val="24576"/>
  <p:tag name="RUNTIME_ID" val="b72a2413-dc6a-4d5b-8677-7590e73c846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77PGP3oKJBo4hjWpthtoQEAAAAAAADAAAAAAADAAAABAADAAAAAAADAAAABAADAAEA////////BQAAAAMAEAAL6PgR+cAx1EeRxFvjnxZCpAQAAAABAAMAAAAEAAMAAAABAAQABQD///////8FAAAABAAQAAtjtM3xd3AQSoEET1EM1GcEBAAAAAIAAwAAAAIAAwAAAAM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bvs8Y/egokGjiGNam2G2hAREYXRhAAUAAAAAAk5hbWUADQAAAExpbmtEYXRhTGlzdAAQVmVyc2lvbgABAAAACUxhc3RXcml0ZQAwYPZllQEAAAABAP////9hAGEAAAAFX2lkABAAAAAE6PgR+cAx1EeRxFvjnxZCpAREYXRhAAUAAAAAAk5hbWUADQAAAExpbmtEYXRhTGlzdAAQVmVyc2lvbgAAAAAACUxhc3RXcml0ZQAuYPZllQEAAAACAP////9wAHAAAAAFX2lkABAAAAAEY7TN8XdwEEqBBE9RDNRnBANEYXRhABYAAAACUGVyc29uYWxJZAABAAAAAAACTmFtZQALAAAAUGVyc29uYWxJZAAQVmVyc2lvbgAAAAAACUxhc3RXcml0ZQBXYP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AD///////8FAAAAAAD///////8DAAIBAwAAAAMA////////DgAGTGlua0RhdGFMaXN0XzAEAAAAAQ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92002320576"/>
  <p:tag name="EMPOWERCHARTSPROPERTIES_B_LENGTH" val="24576"/>
  <p:tag name="RUNTIME_ID" val="76734cdc-25c8-4807-abed-82d96000ae1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e7SRHb205CueBqgvcTI3gEAAAAAAADAAAAAAADAAAAAwADAAAAAAD///////8DAAEA////////BQAAAAMAEAALytvDTLADakiZUJ5arBzunwQAAAABAAMAAAACAAMAAAAEAAQAAQD///////8FAAAABAAQAAuFUXmb7e2qSqp8ZaTp+A0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7tJEdvbTkK54GqC9xMjeAREYXRhAAUAAAAAAk5hbWUADQAAAExpbmtEYXRhTGlzdAAQVmVyc2lvbgAAAAAACUxhc3RXcml0ZQA7S12IlAEAAAABAP////9hAGEAAAAFX2lkABAAAAAEytvDTLADakiZUJ5arBzunwREYXRhAAUAAAAAAk5hbWUADQAAAExpbmtEYXRhTGlzdAAQVmVyc2lvbgABAAAACUxhc3RXcml0ZQA8S12IlAEAAAACAP////9wAHAAAAAFX2lkABAAAAAEhVF5m+3tqkqqfGWk6fgNFANEYXRhABYAAAACUGVyc29uYWxJZAABAAAAAAACTmFtZQALAAAAUGVyc29uYWxJZAAQVmVyc2lvbgAAAAAACUxhc3RXcml0ZQBOS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31011082"/>
  <p:tag name="EMPOWERCHARTSPROPERTIES_B_LENGTH" val="24576"/>
  <p:tag name="RUNTIME_ID" val="a8c733b6-50ec-4a78-a448-781162228c6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U8A3/YiO5BrZitPtdGHqcEAAAAAAADAAAAAAADAAAAAwADAAEA////////BQAAAAMAEAALCER8rzDLFkmS4o+UdjhqogQAAAABAAMAAAACAAMAAAAEAAQAAQD///////8FAAAABAAQAAvr+3XPDV1aQ5FKxDVmvlC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xTwDf9iI7kGtmK0+10YepwREYXRhAAUAAAAAAk5hbWUADQAAAExpbmtEYXRhTGlzdAAQVmVyc2lvbgABAAAACUxhc3RXcml0ZQBxS12IlAEAAAABAP////9hAGEAAAAFX2lkABAAAAAECER8rzDLFkmS4o+UdjhqogREYXRhAAUAAAAAAk5hbWUADQAAAExpbmtEYXRhTGlzdAAQVmVyc2lvbgAAAAAACUxhc3RXcml0ZQBxS12IlAEAAAACAP////9wAHAAAAAFX2lkABAAAAAE6/t1zw1dWkORSsQ1Zr5QjQNEYXRhABYAAAACUGVyc29uYWxJZAABAAAAAAACTmFtZQALAAAAUGVyc29uYWxJZAAQVmVyc2lvbgAAAAAACUxhc3RXcml0ZQCBS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AwAFAAAABAAFAAAAAwAFAAAABAAFAAAAAwD///////8FAAAAAAD///////8DAAMBAwAAAAMA////////DgAGTGlua0RhdGFMaXN0XzAEAAAAAQAFAAAAAAAFAAAAAg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31534243"/>
  <p:tag name="EMPOWERCHARTSPROPERTIES_B_LENGTH" val="24576"/>
  <p:tag name="RUNTIME_ID" val="8f5093a7-3837-4d16-89bb-3002efc9000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wgsAAAAAAAAAAAAAIAD///////////////8AAAD///////////////8DAAAAAgD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i7a1D4L9NGnFurmpNixhcEAAAAAAADAAAAAAADAAAAAwADAAAAAAADAAAAAwADAAQA////////BQAAAAMAEAALoWWff1/zCUSQgrLvYe80vQQAAAABAAMAAAACAAMAAAAEAAMAAAACAAMAAAAEAAMAAAAAAAMAAAAEAAMAAAAAAAMAAAAEAAQABAD///////8FAAAABAAQAAuYyGatx9ZlSZVt12EXwAT3BAAAAAIAAwAAAAMAAwAAAAEAAwAAAAMA////////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LtrUPgv00acW6uak2LGFwREYXRhAAUAAAAAAk5hbWUADQAAAExpbmtEYXRhTGlzdAAQVmVyc2lvbgAAAAAACUxhc3RXcml0ZQCiS12IlAEAAAABAP////9hAGEAAAAFX2lkABAAAAAEoWWff1/zCUSQgrLvYe80vQREYXRhAAUAAAAAAk5hbWUADQAAAExpbmtEYXRhTGlzdAAQVmVyc2lvbgABAAAACUxhc3RXcml0ZQCiS12IlAEAAAACAP////9wAHAAAAAFX2lkABAAAAAEmMhmrcfWZUmVbddhF8AE9wNEYXRhABYAAAACUGVyc29uYWxJZAABAAAAAAACTmFtZQALAAAAUGVyc29uYWxJZAAQVmVyc2lvbgAAAAAACUxhc3RXcml0ZQCzS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AFAAAABAAEAAQBAwAAAAQA////////DAAGUGVyc29uYWxJZF8wBAAAAAIABQAAAAMABQAAAAEABQAAAAM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32047483"/>
  <p:tag name="EMPOWERCHARTSPROPERTIES_B_LENGTH" val="24576"/>
  <p:tag name="RUNTIME_ID" val="ab9a9742-d5dc-469e-8496-8fd38d758f6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5gsAAAAAAAAAAAAAIAD///////////////8AAAD////////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/1whlJDCFBmtT5IRLA+yMEAAAAAAADAAAAAAADAAAABAADAAIA////////BQAAAAMAEAALb+RObSSIukOvRTR+oreV0AQAAAABAAMAAAAEAAMAAAABAAMAAAAEAP///////wQABAD///////8FAAAABAAQAAu0m+5I46zdSqGNszNxCcAZBAAAAAIAAwAAAAI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/XCGUkMIUGa1PkhEsD7IwREYXRhAAUAAAAAAk5hbWUADQAAAExpbmtEYXRhTGlzdAAQVmVyc2lvbgAAAAAACUxhc3RXcml0ZQDXS12IlAEAAAABAP////9hAGEAAAAFX2lkABAAAAAEb+RObSSIukOvRTR+oreV0AREYXRhAAUAAAAAAk5hbWUADQAAAExpbmtEYXRhTGlzdAAQVmVyc2lvbgABAAAACUxhc3RXcml0ZQDXS12IlAEAAAACAP////9wAHAAAAAFX2lkABAAAAAEtJvuSOOs3UqhjbMzcQnAGQNEYXRhABYAAAACUGVyc29uYWxJZAABAAAAAAACTmFtZQALAAAAUGVyc29uYWxJZAAQVmVyc2lvbgAAAAAACUxhc3RXcml0ZQDoS1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AFAAAABAAFAAAAAAD///////8DAAIBAwAAAAMA////////DgAGTGlua0RhdGFMaXN0XzEEAAAAAQAFAAAAAgAFAAAABAAFAAAAAgAFAAAABAAEAAMBAwAAAAQA////////DAAGUGVyc29uYWxJZF8wBAAAAAIABQAAAAMABQAAAAEABQAAAAM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32555200"/>
  <p:tag name="EMPOWERCHARTSPROPERTIES_B_LENGTH" val="24576"/>
  <p:tag name="RUNTIME_ID" val="4e4aeb6d-a81b-4559-9efa-898f92b2481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k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f83CArZlxOhQWOXX4N6XUEAAAAAAADAAAAAAADAAAAAwADAAEA////////BQAAAAMAEAALfZmdSw3KKE2hr1cgCymmMgQAAAABAAMAAAACAAMAAAAEAAQAAQD///////8FAAAABAAQAAuCuJruHeB9SZrxLw2jKY5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B/zcICtmXE6FBY5dfg3pdQREYXRhAAUAAAAAAk5hbWUADQAAAExpbmtEYXRhTGlzdAAQVmVyc2lvbgAAAAAACUxhc3RXcml0ZQAXJVSIlAEAAAABAP////9wAHAAAAAFX2lkABAAAAAEfZmdSw3KKE2hr1cgCymmMgNEYXRhABYAAAACUGVyc29uYWxJZAABAAAAAAACTmFtZQALAAAAUGVyc29uYWxJZAAQVmVyc2lvbgAAAAAACUxhc3RXcml0ZQAOJF7TiwEAAAACAP////9hAGEAAAAFX2lkABAAAAAEgria7h3gfUma8S8NoymOZwREYXRhAAUAAAAAAk5hbWUADQAAAExpbmtEYXRhTGlzdAAQVmVyc2lvbgABAAAACUxhc3RXcml0ZQAaJV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mCwAAAAAAAAAAAAAgAf///////////////wAAAP///////////////wUAAAACAP///////wUAAAACAP///////wUAAAACAP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kBAwAAAAIA////////DgAGTGlua0RhdGFMaXN0XzAEAAAAAAAFAAAAAAAFAAAABAAFAAAAAAAFAAAAAwAFAAAAAAAFAAAAAwAFAAAAAAD///////8FAAAAAAD///////8FAAAAAAD///////8FAAAAAAD///////8FAAAAAAD///////8FAAAAAAD///////8DAAMBAwAAAAMA////////DAAGUGVyc29uYWxJZF8wBAAAAAEABQAAAAQABQAAAAEABQAAAAIA////////BQAAAAI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5045445"/>
  <p:tag name="EMPOWERCHARTSPROPERTIES_B_LENGTH" val="24576"/>
  <p:tag name="RUNTIME_ID" val="41e3b042-4f1a-4f02-8d6e-873bdcc70fcc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98OiatHlJBqBaW2QZhGnMEAAAAAAADAAAAAAADAAAAAwADAAAAAAADAAAAAwADAAIA////////BQAAAAMAEAALDhIdSKWIIE6wuKg5MGHxJAQAAAABAAMAAAACAAMAAAAEAAMAAAACAP///////wQAAQD///////8FAAAABAAQAAtGcSVd6b6zS551Z8Ln8Ey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3w6Jq0eUkGoFpbZBmEacwREYXRhAAUAAAAAAk5hbWUADQAAAExpbmtEYXRhTGlzdAAQVmVyc2lvbgABAAAACUxhc3RXcml0ZQAUElSIlAEAAAABAP////9wAHAAAAAFX2lkABAAAAAEDhIdSKWIIE6wuKg5MGHxJANEYXRhABYAAAACUGVyc29uYWxJZAABAAAAAAACTmFtZQALAAAAUGVyc29uYWxJZAAQVmVyc2lvbgAAAAAACUxhc3RXcml0ZQBLZhPNiwEAAAACAP////9hAGEAAAAFX2lkABAAAAAERnElXem+s0uedWfC5/BMiwREYXRhAAUAAAAAAk5hbWUADQAAAExpbmtEYXRhTGlzdAAQVmVyc2lvbgAAAAAACUxhc3RXcml0ZQAREl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BAAFAAAAAwADAAEBAwAAAAMA////////DAAGUGVyc29uYWxJZF8wBAAAAAEABQAAAAIABQAAAAEABAADAQMAAAAEAP///////w4ABkxpbmtEYXRhTGlzdF8wBAAAAAIABQAAAAAABQAAAAI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6365664"/>
  <p:tag name="EMPOWERCHARTSPROPERTIES_B_LENGTH" val="24576"/>
  <p:tag name="RUNTIME_ID" val="88d7e81c-f601-4cdc-88d0-a1b59322b3e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8gsAAAAAAAAAAAAAIAD///////////////8AAAD////////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lBSiVNI/hOokdyDZnAOyYEAAAAAAADAAAAAAADAAAAAwADAAEA////////BQAAAAMAEAALo0yQKdyoV0+sOxVT/F3KqQQAAAABAAMAAAACAAMAAAAEAAQABAD///////8FAAAABAAQAAvgpyCkXEypSJTqwNn6ylorBAAAAAIAAwAAAAMAAwAAAAEA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UFKJU0j+E6iR3INmcA7JgREYXRhAAUAAAAAAk5hbWUADQAAAExpbmtEYXRhTGlzdAAQVmVyc2lvbgAAAAAACUxhc3RXcml0ZQA6ElSIlAEAAAABAP////9hAGEAAAAFX2lkABAAAAAEo0yQKdyoV0+sOxVT/F3KqQREYXRhAAUAAAAAAk5hbWUADQAAAExpbmtEYXRhTGlzdAAQVmVyc2lvbgABAAAACUxhc3RXcml0ZQA7ElSIlAEAAAACAP////9wAHAAAAAFX2lkABAAAAAE4KcgpFxMqUiU6sDZ+spaKwNEYXRhABYAAAACUGVyc29uYWxJZAABAAAAAAACTmFtZQALAAAAUGVyc29uYWxJZAAQVmVyc2lvbgAAAAAACUxhc3RXcml0ZQCCARv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IBAwAAAAQA////////DAAGUGVyc29uYWxJZF8wBAAAAAIABQAAAAM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6735341"/>
  <p:tag name="EMPOWERCHARTSPROPERTIES_B_LENGTH" val="24576"/>
  <p:tag name="RUNTIME_ID" val="737a0a33-c323-4a52-8fcb-10c089e02f0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/////wUA8gsAAAAAAAAAAAAAIAD///////////////8AAAD///////////////8DAAAAAgD///////8DAAAAAw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HZ5FEMppBDgZbnZGIs3KUEAAAAAAADAAAAAAADAAAAAwADAAIA////////BQAAAAMAEAALyEDnniXw1EWW1SsPAYfozwQAAAABAAMAAAACAAMAAAAEAAMAAAAAAAMAAAAEAAQAAwD///////8FAAAABAAQAAvso1f+MaMJQ5Vaxb9WeA1wBAAAAAIAAwAAAAMAAwAAAAEAAwAAAAM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IdnkUQymkEOBludkYizcpQREYXRhAAUAAAAAAk5hbWUADQAAAExpbmtEYXRhTGlzdAAQVmVyc2lvbgAAAAAACUxhc3RXcml0ZQBiElSIlAEAAAABAP////9hAGEAAAAFX2lkABAAAAAEyEDnniXw1EWW1SsPAYfozwREYXRhAAUAAAAAAk5hbWUADQAAAExpbmtEYXRhTGlzdAAQVmVyc2lvbgABAAAACUxhc3RXcml0ZQBkElSIlAEAAAACAP////9wAHAAAAAFX2lkABAAAAAE7KNX/jGjCUOVWsW/VngNcANEYXRhABYAAAACUGVyc29uYWxJZAABAAAAAAACTmFtZQALAAAAUGVyc29uYWxJZAAQVmVyc2lvbgAAAAAACUxhc3RXcml0ZQAKAhv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BAAFAAAAAAAFAAAABAAFAAAAAAD///////8DAAEBAwAAAAMA////////DgAGTGlua0RhdGFMaXN0XzEEAAAAAQAFAAAAAgAFAAAABAAEAAMBAwAAAAQA////////DAAGUGVyc29uYWxJZF8wBAAAAAIABQAAAAM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7394050"/>
  <p:tag name="EMPOWERCHARTSPROPERTIES_B_LENGTH" val="24576"/>
  <p:tag name="RUNTIME_ID" val="787b9282-c1a1-41e0-a916-b51eef8ec12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/////wUA5gsAAAAAAAAAAAAAIAD///////////////8AAAD////////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9Tz24i5ChEjYs34x6j6fIEAAAAAAADAAAAAAADAAAAAwADAAEA////////BQAAAAMAEAALf/V9pb7NH0GisRKlsb5DHAQAAAABAAMAAAACAAMAAAAEAAQABQD///////8FAAAABAAQAAuQq9a5WJaZQZg/VNeTZJkbBAAAAAIAAwAAAAMAAwAAAAEA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1PPbiLkKESNizfjHqPp8gREYXRhAAUAAAAAAk5hbWUADQAAAExpbmtEYXRhTGlzdAAQVmVyc2lvbgAAAAAACUxhc3RXcml0ZQCjElSIlAEAAAABAP////9hAGEAAAAFX2lkABAAAAAEf/V9pb7NH0GisRKlsb5DHAREYXRhAAUAAAAAAk5hbWUADQAAAExpbmtEYXRhTGlzdAAQVmVyc2lvbgABAAAACUxhc3RXcml0ZQClElSIlAEAAAACAP////9wAHAAAAAFX2lkABAAAAAEkKvWuViWmUGYP1TXk2SZGwNEYXRhABYAAAACUGVyc29uYWxJZAABAAAAAAACTmFtZQALAAAAUGVyc29uYWxJZAAQVmVyc2lvbgAAAAAACUxhc3RXcml0ZQA+Ahv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AFAAAABAAFAAAAAA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7790859"/>
  <p:tag name="EMPOWERCHARTSPROPERTIES_B_LENGTH" val="24576"/>
  <p:tag name="RUNTIME_ID" val="e5c53713-0f53-4ab9-9916-b3ff339fab3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5lmjDCpjglPt8Qx1YrdwCoEAAAAAAADAAAAAAADAAAAAwADAAAAAAADAAAABAADAAAAAAADAAAABAADAAEA////////BQAAAAMAEAAL/TVhnNr8iUCBjP3dGdLj9gQAAAABAAMAAAACAAMAAAAEAAQAAwD///////8FAAAABAAQAAvo/em4S2i4SK8n/AVyVyEv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WaMMKmOCU+3xDHVit3AKgREYXRhAAUAAAAAAk5hbWUADQAAAExpbmtEYXRhTGlzdAAQVmVyc2lvbgABAAAACUxhc3RXcml0ZQDRElSIlAEAAAABAP////9hAGEAAAAFX2lkABAAAAAE/TVhnNr8iUCBjP3dGdLj9gREYXRhAAUAAAAAAk5hbWUADQAAAExpbmtEYXRhTGlzdAAQVmVyc2lvbgAAAAAACUxhc3RXcml0ZQDMElSIlAEAAAACAP////9wAHAAAAAFX2lkABAAAAAE6P3puEtouEivJ/wFclchLwNEYXRhABYAAAACUGVyc29uYWxJZAABAAAAAAACTmFtZQALAAAAUGVyc29uYWxJZAAQVmVyc2lvbgAAAAAACUxhc3RXcml0ZQDzZhP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D///////8FAAAAAwD///////8DAAMBAwAAAAMA////////DgAGTGlua0RhdGFMaXN0XzAEAAAAAQAFAAAAAAAFAAAAAg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8191662"/>
  <p:tag name="EMPOWERCHARTSPROPERTIES_B_LENGTH" val="24576"/>
  <p:tag name="RUNTIME_ID" val="8bde72db-86bb-4e2c-aa37-4a037b17624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dlKLkWLD9BnUTefiyVl2oEAAAAAAADAAAABAADAAAAAwADAAEA////////BQAAAAMAEAALXrE5zrlCOEqir8i8a9t6PAQAAAABAAMAAAACAAMAAAABAAQAAQD///////8FAAAABAAQAAvnUv2TxP5+R5qaOc2vvo+l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2UouRYsP0GdRN5+LJWXagREYXRhAAUAAAAAAk5hbWUADQAAAExpbmtEYXRhTGlzdAAQVmVyc2lvbgAAAAAACUxhc3RXcml0ZQB6YPZllQEAAAABAP////9hAGEAAAAFX2lkABAAAAAEXrE5zrlCOEqir8i8a9t6PAREYXRhAAUAAAAAAk5hbWUADQAAAExpbmtEYXRhTGlzdAAQVmVyc2lvbgABAAAACUxhc3RXcml0ZQB/YPZllQEAAAACAP////9wAHAAAAAFX2lkABAAAAAE51L9k8T+fkeamjnNr76PpQNEYXRhABYAAAACUGVyc29uYWxJZAABAAAAAAACTmFtZQALAAAAUGVyc29uYWxJZAAQVmVyc2lvbgAAAAAACUxhc3RXcml0ZQCUYPZ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92002917951"/>
  <p:tag name="EMPOWERCHARTSPROPERTIES_B_LENGTH" val="24576"/>
  <p:tag name="RUNTIME_ID" val="4df6690a-d1cd-4644-a24e-7311086a5cb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Ks+TZSYM5Pi1v1M9KGGQEEAAAAAAADAAAAAAADAAAAAwADAAAAAAADAAAAAwADAAIA////////BQAAAAMAEAALkUD4PQaX4EKetB4hA+1sowQAAAABAAMAAAACAAMAAAAEAAMAAAACAP///////wQAAQD///////8FAAAABAAQAAu5kXy+cLVHSYYSDof9RBh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qz5NlJgzk+LW/Uz0oYZAQREYXRhAAUAAAAAAk5hbWUADQAAAExpbmtEYXRhTGlzdAAQVmVyc2lvbgABAAAACUxhc3RXcml0ZQADE1SIlAEAAAABAP////9wAHAAAAAFX2lkABAAAAAEkUD4PQaX4EKetB4hA+1sowNEYXRhABYAAAACUGVyc29uYWxJZAABAAAAAAACTmFtZQALAAAAUGVyc29uYWxJZAAQVmVyc2lvbgAAAAAACUxhc3RXcml0ZQAoZxPNiwEAAAACAP////9hAGEAAAAFX2lkABAAAAAEuZF8vnC1R0mGEg6H/UQYSAREYXRhAAUAAAAAAk5hbWUADQAAAExpbmtEYXRhTGlzdAAQVmVyc2lvbgAAAAAACUxhc3RXcml0ZQD0El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E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EEAAAAAAAFAAAABAAFAAAAAwAFAAAAAAD///////8FAAAAAAD///////8FAAAAAAD///////8DAAEBAwAAAAMA////////DAAGUGVyc29uYWxJZF8wBAAAAAEABQAAAAIABQAAAAEABAABAQMAAAAEAP///////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8724738"/>
  <p:tag name="EMPOWERCHARTSPROPERTIES_B_LENGTH" val="24576"/>
  <p:tag name="RUNTIME_ID" val="befb8e00-c53e-4b5b-a721-e3f0683e077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/////wUA5gsAAAAAAAAAAAAAIAD///////////////8AAAD///////////////8DAAAAAg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F5PRU8CUFNp9X2y349ZmcEAAAAAAADAAAAAAADAAAAAwADAAUA////////BQAAAAMAEAAL1F4SL+sYtU6kDmOOaNrBHAQAAAABAAMAAAACAAMAAAAEAAMAAAAAAP///////wMAAAAAAP///////wMAAAAAAP///////wMAAAAAAP///////wQAAQD///////8FAAAABAAQAAu+FeZs2uRyRIbvFMAggRQ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Xk9FTwJQU2n1fbLfj1mZwREYXRhAAUAAAAAAk5hbWUADQAAAExpbmtEYXRhTGlzdAAQVmVyc2lvbgABAAAACUxhc3RXcml0ZQBMJVSIlAEAAAABAP////9wAHAAAAAFX2lkABAAAAAE1F4SL+sYtU6kDmOOaNrBHANEYXRhABYAAAACUGVyc29uYWxJZAABAAAAAAACTmFtZQALAAAAUGVyc29uYWxJZAAQVmVyc2lvbgAAAAAACUxhc3RXcml0ZQBwAhvNiwEAAAACAP////9hAGEAAAAFX2lkABAAAAAEvhXmbNrkckSG7xTAIIEUHgREYXRhAAUAAAAAAk5hbWUADQAAAExpbmtEYXRhTGlzdAAQVmVyc2lvbgAAAAAACUxhc3RXcml0ZQBMJV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BAAFAAAAAwAFAAAABAAFAAAAAwADAAIBAwAAAAMA////////DAAGUGVyc29uYWxJZF8wBAAAAAEABQAAAAIABQAAAAEABQAAAAIA////////BAAEAQMAAAAEAP///////w4ABkxpbmtEYXRhTGlzdF8wBAAAAAIABQAAAAAABQAAAAIABQAAAAAABQAAAAI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5562810"/>
  <p:tag name="EMPOWERCHARTSPROPERTIES_B_LENGTH" val="24576"/>
  <p:tag name="RUNTIME_ID" val="a8e784bd-a402-4b93-a796-92c3315b29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RuBh+ZikFAqG9wmsj8stwEAAAAAAADAAAAAAADAAAAAwADAAEA////////BQAAAAMAEAALkX+BvTVjbE+/UoyrkVOxUAQAAAABAAMAAAACAAMAAAAEAAQAAQD///////8FAAAABAAQAAsIvr3805qFTZMLSQa+7aD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G4GH5mKQUCob3CayPyy3AREYXRhAAUAAAAAAk5hbWUADQAAAExpbmtEYXRhTGlzdAAQVmVyc2lvbgABAAAACUxhc3RXcml0ZQCYJVSIlAEAAAABAP////9wAHAAAAAFX2lkABAAAAAEkX+BvTVjbE+/UoyrkVOxUANEYXRhABYAAAACUGVyc29uYWxJZAABAAAAAAACTmFtZQALAAAAUGVyc29uYWxJZAAQVmVyc2lvbgAAAAAACUxhc3RXcml0ZQC9hRzNiwEAAAACAP////9hAGEAAAAFX2lkABAAAAAECL69/NOahU2TC0kGvu2g1AREYXRhAAUAAAAAAk5hbWUADQAAAExpbmtEYXRhTGlzdAAQVmVyc2lvbgAAAAAACUxhc3RXcml0ZQCLJV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E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BAAFAAAAAwAFAAAABAD///////8FAAAABAD///////8DAAEBAwAAAAMA////////DAAGUGVyc29uYWxJZF8wBAAAAAEABQAAAAIABQAAAAEABAAFAQMAAAAEAP///////w4ABkxpbmtEYXRhTGlzdF8wBAAAAAIABQAAAAAABQAAAAIABQAAAAAABQAAAAIABQAAAAAABQAAAAIA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6276529"/>
  <p:tag name="EMPOWERCHARTSPROPERTIES_B_LENGTH" val="24576"/>
  <p:tag name="RUNTIME_ID" val="5eb11636-6eaa-4939-85d9-180cc81c496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70t1dIBclBgIF/LBG8P4UEAAAAAAADAAAAAAADAAAAAwADAAIA////////BQAAAAMAEAALAD32wuyMPEqaUf//2sPmvwQAAAABAAMAAAACAAMAAAAEAAMAAAAAAAMAAAAEAAQAAgD///////8FAAAABAAQAAsc/0n+WAgfSY2PH5YAtWqG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vS3V0gFyUGAgX8sEbw/hQREYXRhAAUAAAAAAk5hbWUADQAAAExpbmtEYXRhTGlzdAAQVmVyc2lvbgABAAAACUxhc3RXcml0ZQC8JVSIlAEAAAABAP////9wAHAAAAAFX2lkABAAAAAEAD32wuyMPEqaUf//2sPmvwNEYXRhABYAAAACUGVyc29uYWxJZAABAAAAAAACTmFtZQALAAAAUGVyc29uYWxJZAAQVmVyc2lvbgAAAAAACUxhc3RXcml0ZQA6hhzNiwEAAAACAP////9hAGEAAAAFX2lkABAAAAAEHP9J/lgIH0mNjx+WALVqhgREYXRhAAUAAAAAAk5hbWUADQAAAExpbmtEYXRhTGlzdAAQVmVyc2lvbgAAAAAACUxhc3RXcml0ZQC5JV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BAAFAAAAAwADAAQBAwAAAAMA////////DAAGUGVyc29uYWxJZF8wBAAAAAEABQAAAAIABQAAAAEABQAAAAQA////////BQAAAAQA////////BQAAAAQA////////BAAEAQMAAAAEAP///////w4ABkxpbmtEYXRhTGlzdF8wBAAAAAIABQAAAAAABQAAAAIABQAAAAAABQAAAAMABQAAAAAABQAAAAM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6806756"/>
  <p:tag name="EMPOWERCHARTSPROPERTIES_B_LENGTH" val="24576"/>
  <p:tag name="RUNTIME_ID" val="1efdb143-09fd-4e2a-9c5b-0fc20e97971b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H71TsSiKNBkA6vBru3uyoEAAAAAAADAAAAAAADAAAAAwADAAAAAAD///////8DAAAAAAD///////8DAAEA////////BQAAAAMAEAALTSEDX0waYUWH+pIf4XWchQQAAAABAAMAAAACAAMAAAAEAAQAAQD///////8FAAAABAAQAAsGBC3hQiSqT5sZOJQDSh9C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fvVOxKIo0GQDq8Gu7e7KgREYXRhAAUAAAAAAk5hbWUADQAAAExpbmtEYXRhTGlzdAAQVmVyc2lvbgABAAAACUxhc3RXcml0ZQDwJVSIlAEAAAABAP////9hAGEAAAAFX2lkABAAAAAETSEDX0waYUWH+pIf4XWchQREYXRhAAUAAAAAAk5hbWUADQAAAExpbmtEYXRhTGlzdAAQVmVyc2lvbgAAAAAACUxhc3RXcml0ZQDvJVSIlAEAAAACAP////9wAHAAAAAFX2lkABAAAAAEBgQt4UIkqk+bGTiUA0ofQgNEYXRhABYAAAACUGVyc29uYWxJZAABAAAAAAACTmFtZQALAAAAUGVyc29uYWxJZAAQVmVyc2lvbgAAAAAACUxhc3RXcml0ZQBuhhz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EEAAAAAAAFAAAAAwAFAAAABAAFAAAAAAAFAAAABAAFAAAAAAD///////8FAAAAAAD///////8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7246988"/>
  <p:tag name="EMPOWERCHARTSPROPERTIES_B_LENGTH" val="24576"/>
  <p:tag name="RUNTIME_ID" val="8dc33dd8-04ed-4919-9f5e-718f62a00b0b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/////wUA2gs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0S/4zzRoitJkhDV737O1JoEAAAAAAADAAAAAAADAAAAAwADAAAAAAADAAAAAwADAAMA////////BQAAAAMAEAALu1b9unINJU+vJxjeLzXU3gQAAAABAAMAAAACAAMAAAAEAAMAAAACAAMAAAAEAAMAAAAAAAMAAAAEAAQAAwD///////8FAAAABAAQAAvExaP8Fb/0Q6Xsk3YQ+DrvBAAAAAIAAwAAAAMAAwAAAAEA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RL/jPNGiK0mSENXvfs7UmgNEYXRhABYAAAACUGVyc29uYWxJZAABAAAAAAACTmFtZQALAAAAUGVyc29uYWxJZAAQVmVyc2lvbgAAAAAACUxhc3RXcml0ZQClhhzNiwEAAAABAP////9hAGEAAAAFX2lkABAAAAAEu1b9unINJU+vJxjeLzXU3gREYXRhAAUAAAAAAk5hbWUADQAAAExpbmtEYXRhTGlzdAAQVmVyc2lvbgABAAAACUxhc3RXcml0ZQAhJlSIlAEAAAACAP////9hAGEAAAAFX2lkABAAAAAExMWj/BW/9EOl7JN2EPg67wREYXRhAAUAAAAAAk5hbWUADQAAAExpbmtEYXRhTGlzdAAQVmVyc2lvbgAAAAAACUxhc3RXcml0ZQAhJl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E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MABQAAAAEAAwABAQMAAAADAP///////w4ABkxpbmtEYXRhTGlzdF8xBAAAAAEABQAAAAQABQAAAAIABAAFAQMAAAAEAP///////w4ABkxpbmtEYXRhTGlzdF8wBAAAAAIABQAAAAAABQAAAAMABQAAAAAA////////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7748537"/>
  <p:tag name="EMPOWERCHARTSPROPERTIES_B_LENGTH" val="24576"/>
  <p:tag name="RUNTIME_ID" val="b0349c8f-c17c-42de-9eac-f409afd0e86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/////wUAq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4UVpm4SDO5MuC9u9LQvwbUEAAAAAAADAAAAAAADAAAAAwADAAAAAAADAAAAAwADAAAAAAADAAAAAwADAAAAAAADAAAAAwADAAQA////////BQAAAAMAEAALQ9xhwY++C0+kSxrc76od0gQAAAABAAMAAAACAAMAAAAEAAMAAAACAAMAAAAEAAMAAAACAAMAAAAEAAMAAAACAAMAAAAEAAQABAD///////8FAAAABAAQAAu3H1/rEjG3RoXXPrLfIq2GBAAAAAIAAwAAAAMAAwAAAAEAAwAAAAMA////////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RWmbhIM7ky4L270tC/BtQREYXRhAAUAAAAAAk5hbWUADQAAAExpbmtEYXRhTGlzdAAQVmVyc2lvbgABAAAACUxhc3RXcml0ZQBZJlSIlAEAAAABAP////9wAHAAAAAFX2lkABAAAAAEQ9xhwY++C0+kSxrc76od0gNEYXRhABYAAAACUGVyc29uYWxJZAABAAAAAAACTmFtZQALAAAAUGVyc29uYWxJZAAQVmVyc2lvbgAAAAAACUxhc3RXcml0ZQAFaBPNiwEAAAACAP////9hAGEAAAAFX2lkABAAAAAEtx9f6xIxt0aF1z6y3yKthgREYXRhAAUAAAAAAk5hbWUADQAAAExpbmtEYXRhTGlzdAAQVmVyc2lvbgAAAAAACUxhc3RXcml0ZQBYJl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E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BAAFAAAAAwADAAMBAwAAAAMA////////DAAGUGVyc29uYWxJZF8wBAAAAAEABQAAAAIABQAAAAEABQAAAAAA////////BQAAAAAA////////BAABAQMAAAAEAP///////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8361127"/>
  <p:tag name="EMPOWERCHARTSPROPERTIES_B_LENGTH" val="24576"/>
  <p:tag name="RUNTIME_ID" val="c71becdc-b6ca-47d2-9418-ba797c21214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w2riEo6WdGujskerhAhRUEAAAAAAADAAAAAAADAAAAAwADAAAAAAD///////8DAAEA////////BQAAAAMAEAALAXXNaWo9SUmn5WdA18jxJgQAAAABAAMAAAACAAMAAAAEAAQAAQD///////8FAAAABAAQAAvmHtWh/0GxRoQAgiTdbgf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DauISjpZ0a6OyR6uECFFQREYXRhAAUAAAAAAk5hbWUADQAAAExpbmtEYXRhTGlzdAAQVmVyc2lvbgAAAAAACUxhc3RXcml0ZQCLJlSIlAEAAAABAP////9hAGEAAAAFX2lkABAAAAAEAXXNaWo9SUmn5WdA18jxJgREYXRhAAUAAAAAAk5hbWUADQAAAExpbmtEYXRhTGlzdAAQVmVyc2lvbgABAAAACUxhc3RXcml0ZQCLJlSIlAEAAAACAP////9wAHAAAAAFX2lkABAAAAAE5h7Vof9BsUaEAIIk3W4HxgNEYXRhABYAAAACUGVyc29uYWxJZAABAAAAAAACTmFtZQALAAAAUGVyc29uYWxJZAAQVmVyc2lvbgAAAAAACUxhc3RXcml0ZQA/aBP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8785692"/>
  <p:tag name="EMPOWERCHARTSPROPERTIES_B_LENGTH" val="24576"/>
  <p:tag name="RUNTIME_ID" val="92cfbb2d-b41d-4fcc-bc55-c593a4b925bf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/////wUA5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zVtgxJGr6lDqaGvs+D8K5cEAAAAAAADAAAAAAADAAAAAwADAAAAAAADAAAABAADAAAAAAD///////8DAAAAAAD///////8DAAEA////////BQAAAAMAEAALLYCGLOOKgEy4VrlxADO4UQQAAAABAAMAAAACAAMAAAAEAAQAAgD///////8FAAAABAAQAAs3N109250bTKBf/09gZHnaBAAAAAIAAwAAAAMAAwAAAAEA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wAHAAAAAFX2lkABAAAAAENW2DEkavqUOpoa+z4PwrlwNEYXRhABYAAAACUGVyc29uYWxJZAABAAAAAAACTmFtZQALAAAAUGVyc29uYWxJZAAQVmVyc2lvbgAAAAAACUxhc3RXcml0ZQDwAhvNiwEAAAABAP////9hAGEAAAAFX2lkABAAAAAELYCGLOOKgEy4VrlxADO4UQREYXRhAAUAAAAAAk5hbWUADQAAAExpbmtEYXRhTGlzdAAQVmVyc2lvbgAAAAAACUxhc3RXcml0ZQAqE1SIlAEAAAACAP////9hAGEAAAAFX2lkABAAAAAENzddPdudG0ygX/9PYGR52gREYXRhAAUAAAAAAk5hbWUADQAAAExpbmtEYXRhTGlzdAAQVmVyc2lvbgABAAAACUxhc3RXcml0ZQAsE1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AAGUGVyc29uYWxJZF8wBAAAAAAABQAAAAQABQAAAAEAAwADAQMAAAADAP///////w4ABkxpbmtEYXRhTGlzdF8wBAAAAAEABQAAAAAABQAAAAQABQAAAAAABQAAAAQABQAAAAAABQAAAAQABAADAQMAAAAEAP///////w4ABkxpbmtEYXRhTGlzdF8xBAAAAAIABQAAAAMABQAAAAI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9101310"/>
  <p:tag name="EMPOWERCHARTSPROPERTIES_B_LENGTH" val="24576"/>
  <p:tag name="RUNTIME_ID" val="6340e457-bea8-49b0-a2f2-8357cef5032f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+JShC2C65FCn0zBC4fjjFsEAAAAAAADAAAAAAADAAAAAwADAAAAAAD///////8DAAAAAAD///////8DAAAAAAD///////8DAAEA////////BQAAAAMAEAALGEr2qA8bS0abHQfIYaNgIAQAAAABAAMAAAACAAMAAAAEAAQAAQD///////8FAAAABAAQAAsQFM3R17QWTZYPjCT8Fla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4lKELYLrkUKfTMELh+OMWwREYXRhAAUAAAAAAk5hbWUADQAAAExpbmtEYXRhTGlzdAAQVmVyc2lvbgAAAAAACUxhc3RXcml0ZQBSE1SIlAEAAAABAP////9wAHAAAAAFX2lkABAAAAAEGEr2qA8bS0abHQfIYaNgIANEYXRhABYAAAACUGVyc29uYWxJZAABAAAAAAACTmFtZQALAAAAUGVyc29uYWxJZAAQVmVyc2lvbgAAAAAACUxhc3RXcml0ZQBRAxvNiwEAAAACAP////9hAGEAAAAFX2lkABAAAAAEEBTN0de0Fk2WD4wk/BZWpAREYXRhAAUAAAAAAk5hbWUADQAAAExpbmtEYXRhTGlzdAAQVmVyc2lvbgABAAAACUxhc3RXcml0ZQBUE1S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BAAFAAAAAAD///////8FAAAAAAD///////8FAAAAAAD///////8DAAEBAwAAAAMA////////DAAGUGVyc29uYWxJZF8wBAAAAAEABQAAAAQABQAAAAEA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7989516478"/>
  <p:tag name="EMPOWERCHARTSPROPERTIES_B_LENGTH" val="24576"/>
  <p:tag name="RUNTIME_ID" val="17aa0d4e-afa4-468f-aadd-de493cfcbad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x/y7rjumkVDpzApcx+JoRcEAAAAAAADAAAABAADAAAAAwADAAAAAAADAAAAAwADAAAAAAD///////8DAAIA////////BQAAAAMAEAALlHdDz7IfpUqh/gxJKsHnqQQAAAABAAMAAAACAAMAAAABAAMAAAACAP///////wQAAQD///////8FAAAABAAQAAsmuWYv00qdS6t/AF+KWi69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H/LuuO6aRUOnMClzH4mhFwREYXRhAAUAAAAAAk5hbWUADQAAAExpbmtEYXRhTGlzdAAQVmVyc2lvbgABAAAACUxhc3RXcml0ZQCJRV2IlAEAAAABAP////9hAGEAAAAFX2lkABAAAAAElHdDz7IfpUqh/gxJKsHnqQREYXRhAAUAAAAAAk5hbWUADQAAAExpbmtEYXRhTGlzdAAQVmVyc2lvbgAAAAAACUxhc3RXcml0ZQCFRV2IlAEAAAACAP////9wAHAAAAAFX2lkABAAAAAEJrlmL9NKnUurfwBfilouvQNEYXRhABYAAAACUGVyc29uYWxJZAABAAAAAAACTmFtZQALAAAAUGVyc29uYWxJZAAQVmVyc2lvbgAAAAAACUxhc3RXcml0ZQChR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D///////8FAAAAAAD///////8DAAIBAwAAAAMA////////DgAGTGlua0RhdGFMaXN0XzAEAAAAAQAFAAAAAAAFAAAAAg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6551811"/>
  <p:tag name="EMPOWERCHARTSPROPERTIES_B_LENGTH" val="24576"/>
  <p:tag name="RUNTIME_ID" val="f5180757-bcc2-4711-bb0e-be3c034531d9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ovdAbwmp5PrES+eX/rQjEEAAAAAAADAAAAAAADAAAAAwADAAQA////////BQAAAAMAEAALHJfEQU7jBEqx9q3VljtBdwQAAAABAAMAAAACAAMAAAAEAAMAAAAAAP///////wMAAAAAAP///////wMAAAAAAP///////wQAAQD///////8FAAAABAAQAAu1NJpHxlumQa/GwEe7F7I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i90BvCank+sRL55f+tCMQREYXRhAAUAAAAAAk5hbWUADQAAAExpbmtEYXRhTGlzdAAQVmVyc2lvbgABAAAACUxhc3RXcml0ZQC8JlSIlAEAAAABAP////9hAGEAAAAFX2lkABAAAAAEHJfEQU7jBEqx9q3VljtBdwREYXRhAAUAAAAAAk5hbWUADQAAAExpbmtEYXRhTGlzdAAQVmVyc2lvbgAAAAAACUxhc3RXcml0ZQC7JlSIlAEAAAACAP////9wAHAAAAAFX2lkABAAAAAEtTSaR8ZbpkGvxsBHuxeyDQNEYXRhABYAAAACUGVyc29uYWxJZAABAAAAAAACTmFtZQALAAAAUGVyc29uYWxJZAAQVmVyc2lvbgAAAAAACUxhc3RXcml0ZQCIAxvNi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QBAwAAAAMA////////DgAGTGlua0RhdGFMaXN0XzAEAAAAAQAFAAAAAAAFAAAAAgA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08039218453"/>
  <p:tag name="EMPOWERCHARTSPROPERTIES_B_LENGTH" val="24576"/>
  <p:tag name="RUNTIME_ID" val="0303da72-0fbe-4d12-8def-928d849f60f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1FXgxsuFy5Dn+p5pW/7pxYEAAAAAAADAAAAAAADAAAAAwADAAAAAAD///////8DAAAAAAD///////8DAAAAAAD///////8DAAEA////////BQAAAAMAEAALB3ZAz860eE+1KecEqU2d/gQAAAABAAMAAAACAAMAAAAEAAQAAQD///////8FAAAABAAQAAuQbRDatao6SrZgG+uafPH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VeDGy4XLkOf6nmlb/unFgREYXRhAAUAAAAAAk5hbWUADQAAAExpbmtEYXRhTGlzdAAQVmVyc2lvbgABAAAACUxhc3RXcml0ZQBM5yvalAEAAAABAP////9hAGEAAAAFX2lkABAAAAAEB3ZAz860eE+1KecEqU2d/gREYXRhAAUAAAAAAk5hbWUADQAAAExpbmtEYXRhTGlzdAAQVmVyc2lvbgAAAAAACUxhc3RXcml0ZQBL5yvalAEAAAACAP////9wAHAAAAAFX2lkABAAAAAEkG0Q2rWqOkq2YBvrmnzx4QNEYXRhABYAAAACUGVyc29uYWxJZAABAAAAAAACTmFtZQALAAAAUGVyc29uYWxJZAAQVmVyc2lvbgAAAAAACUxhc3RXcml0ZQBe5yva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QBAwAAAAQA////////DAAGUGVyc29uYWxJZF8wBAAAAAIABQAAAAIABQAAAAEABQAAAAA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44238979698266"/>
  <p:tag name="EMPOWERCHARTSPROPERTIES_B_LENGTH" val="24576"/>
  <p:tag name="RUNTIME_ID" val="6177b612-e261-44ed-8c6d-b49c9c4250e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lxDREuPgZBojv+XSAYn84EAAAAAAADAAAAAAADAAAABAADAAEA////////BQAAAAMAEAALvLMbsoUhfUaPxR0zFsHftgQAAAABAAMAAAAEAAMAAAABAAQAAQD///////8FAAAABAAQAAuQLrhHCqAAQKbd7FWUgF68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XENES4+BkGiO/5dIBifzgREYXRhAAUAAAAAAk5hbWUADQAAAExpbmtEYXRhTGlzdAAQVmVyc2lvbgABAAAACUxhc3RXcml0ZQCF5yvalAEAAAABAP////9hAGEAAAAFX2lkABAAAAAEvLMbsoUhfUaPxR0zFsHftgREYXRhAAUAAAAAAk5hbWUADQAAAExpbmtEYXRhTGlzdAAQVmVyc2lvbgAAAAAACUxhc3RXcml0ZQCF5yvalAEAAAACAP////9wAHAAAAAFX2lkABAAAAAEkC64RwqgAECm3exVlIBevANEYXRhABYAAAACUGVyc29uYWxJZAABAAAAAAACTmFtZQALAAAAUGVyc29uYWxJZAAQVmVyc2lvbgAAAAAACUxhc3RXcml0ZQCp5yva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44238980413847"/>
  <p:tag name="EMPOWERCHARTSPROPERTIES_B_LENGTH" val="24576"/>
  <p:tag name="RUNTIME_ID" val="ba98a65e-1e37-45d2-b5ea-59e7033e88f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BA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ME8IZMIcRJrce7yDGMXHcEAAAAAAADAAAABAADAAAAAwADAAIA////////BQAAAAMAEAAL9Dg6yhCZrEa8Q0cBfg1EVAQAAAABAAMAAAACAAMAAAABAAMAAAAAAP///////wQAAQD///////8FAAAABAAQAAtmtzQXHJSST591C4IDfXSY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wTwhkwhxEmtx7vIMYxcdwREYXRhAAUAAAAAAk5hbWUADQAAAExpbmtEYXRhTGlzdAAQVmVyc2lvbgABAAAACUxhc3RXcml0ZQDtjKG5jwEAAAABAP////9hAGEAAAAFX2lkABAAAAAE9Dg6yhCZrEa8Q0cBfg1EVAREYXRhAAUAAAAAAk5hbWUADQAAAExpbmtEYXRhTGlzdAAQVmVyc2lvbgAAAAAACUxhc3RXcml0ZQDnjKG5jwEAAAACAP////9wAHAAAAAFX2lkABAAAAAEZrc0FxyUkk+fdQuCA310mANEYXRhABYAAAACUGVyc29uYWxJZAABAAAAAAACTmFtZQALAAAAUGVyc29uYWxJZAAQVmVyc2lvbgAAAAAACUxhc3RXcml0ZQADjaG5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MBAwAAAAQA////////DAAGUGVyc29uYWxJZF8wBAAAAAIABQAAAAI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031234768815"/>
  <p:tag name="EMPOWERCHARTSPROPERTIES_B_LENGTH" val="24576"/>
  <p:tag name="DOWN_MIGRATION_INITIAL_LAYOUT_REQUIRED" val="9.2.99"/>
  <p:tag name="RUNTIME_ID" val="4b4e944f-2083-4d72-a7e6-6ce8f113935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EBAQEBAQEBAQEBAQEBAQMAAAAAAAAAAwAAAAMAAAAA/////wUA2gsAAAAAAAAAAAAAIAD///////////////8AAAD///////////////8DAAAABAD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9TqD/c989Oj2Ku5NYj0FcEAAAAAAADAAAABAADAAAAAwADAAEA////////BQAAAAMAEAALTmYf19PIj0mbv42cCqd1fwQAAAABAAMAAAACAAMAAAABAAQABgD///////8FAAAABAAQAAuaFE4ZgMZOToHO+plr1ENKBAAAAAIAAwAAAAAAAwAAAAIAAwAAAAAA////////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1OoP9z3z06PYq7k1iPQVwREYXRhAAUAAAAAAk5hbWUADQAAAExpbmtEYXRhTGlzdAAQVmVyc2lvbgABAAAACUxhc3RXcml0ZQAzjaG5jwEAAAABAP////9hAGEAAAAFX2lkABAAAAAETmYf19PIj0mbv42cCqd1fwREYXRhAAUAAAAAAk5hbWUADQAAAExpbmtEYXRhTGlzdAAQVmVyc2lvbgAAAAAACUxhc3RXcml0ZQAzjaG5jwEAAAACAP////9wAHAAAAAFX2lkABAAAAAEmhROGYDGTk6BzvqZa9RDSgNEYXRhABYAAAACUGVyc29uYWxJZAABAAAAAAACTmFtZQALAAAAUGVyc29uYWxJZAAQVmVyc2lvbgAAAAAACUxhc3RXcml0ZQBGjaG5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031235431293"/>
  <p:tag name="EMPOWERCHARTSPROPERTIES_B_LENGTH" val="24576"/>
  <p:tag name="DOWN_MIGRATION_INITIAL_LAYOUT_REQUIRED" val="9.2.99"/>
  <p:tag name="RUNTIME_ID" val="a93945da-c93d-4c3a-a617-1d82ce76de8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2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od/Gb28H1Brbh9CF1/teYEAAAAAAADAAAAAAADAAAAAwADAAAAAAADAAAAAwADAAIA////////BQAAAAMAEAALw75Wg0pTH0mjO04QfN9PvAQAAAABAAMAAAACAAMAAAAEAAMAAAACAAMAAAAEAAQABAD///////8FAAAABAAQAAunwtmS/wroRoMUkrYoEVwmBAAAAAIAAwAAAAMAAwAAAAEAAwAAAAM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h38ZvbwfUGtuH0IXX+15gREYXRhAAUAAAAAAk5hbWUADQAAAExpbmtEYXRhTGlzdAAQVmVyc2lvbgAAAAAACUxhc3RXcml0ZQB1jaG5jwEAAAABAP////9hAGEAAAAFX2lkABAAAAAEw75Wg0pTH0mjO04QfN9PvAREYXRhAAUAAAAAAk5hbWUADQAAAExpbmtEYXRhTGlzdAAQVmVyc2lvbgABAAAACUxhc3RXcml0ZQB6jaG5jwEAAAACAP////9wAHAAAAAFX2lkABAAAAAEp8LZkv8K6EaDFJK2KBFcJgNEYXRhABYAAAACUGVyc29uYWxJZAABAAAAAAACTmFtZQALAAAAUGVyc29uYWxJZAAQVmVyc2lvbgAAAAAACUxhc3RXcml0ZQCOjaG5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031236181613"/>
  <p:tag name="EMPOWERCHARTSPROPERTIES_B_LENGTH" val="24576"/>
  <p:tag name="DOWN_MIGRATION_INITIAL_LAYOUT_REQUIRED" val="9.2.99"/>
  <p:tag name="RUNTIME_ID" val="bd8f7a81-3d9c-4bdd-b6b9-64d6b79ad29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2AjQYQhNF1ArJh2cjTJ2FEEAAAAAAADAAAAAAADAAAABAADAAAAAAD///////8DAAAAAAD///////8DAAAAAAD///////8DAAEA////////BQAAAAMAEAALswlYs+vVnU6BYf962Jab+wQAAAABAAMAAAAEAAMAAAABAAQAAQD///////8FAAAABAAQAAuREtacpoxiRImiNpnkoPB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CNBhCE0XUCsmHZyNMnYUQREYXRhAAUAAAAAAk5hbWUADQAAAExpbmtEYXRhTGlzdAAQVmVyc2lvbgAAAAAACUxhc3RXcml0ZQC+jaG5jwEAAAABAP////9hAGEAAAAFX2lkABAAAAAEswlYs+vVnU6BYf962Jab+wREYXRhAAUAAAAAAk5hbWUADQAAAExpbmtEYXRhTGlzdAAQVmVyc2lvbgABAAAACUxhc3RXcml0ZQC/jaG5jwEAAAACAP////9wAHAAAAAFX2lkABAAAAAEkRLWnKaMYkSJojaZ5KDwSgNEYXRhABYAAAACUGVyc29uYWxJZAABAAAAAAACTmFtZQALAAAAUGVyc29uYWxJZAAQVmVyc2lvbgAAAAAACUxhc3RXcml0ZQDljaG5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BAAFAAAAAAAFAAAABAAFAAAAAAD///////8DAAEBAwAAAAMA////////DgAGTGlua0RhdGFMaXN0XzEEAAAAAQAFAAAAAgAFAAAABAAEAAMBAwAAAAQA////////DAAGUGVyc29uYWxJZF8wBAAAAAIABQAAAAM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031237047697"/>
  <p:tag name="EMPOWERCHARTSPROPERTIES_B_LENGTH" val="24576"/>
  <p:tag name="DOWN_MIGRATION_INITIAL_LAYOUT_REQUIRED" val="9.2.99"/>
  <p:tag name="RUNTIME_ID" val="8e41cae6-fd65-4e4f-a8c7-2bdd28e6bc0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EBAQEBAQEBAQEBAQEBAQMAAAAAAAAAAwAAAAMAAAAA/////wUAqgsAAAAAAAAAAAAAIAD///////////////8AAAD///////////////8DAAAABAD///////8DAAAABAD///////8DAAAABAD///////8DAAAABAD///////8DAAAABA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GEztljPiNAp2Lz7iL9pAMEAAAAAAADAAAABAADAAAAAwADAAYA////////BQAAAAMAEAALjwyt7qPsNEqe4Xwelwp4HQQAAAABAAMAAAACAAMAAAABAAMAAAAEAP///////wMAAAAEAP///////wMAAAAEAP///////wMAAAAEAP///////wMAAAAAAP///////wQABQD///////8FAAAABAAQAAuruBmDly4URY88TMswqxtfBAAAAAIAAwAAAAAAAwAAAAIAAwAAAAAAAwAAAAM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YTO2WM+I0CnYvPuIv2kAwREYXRhAAUAAAAAAk5hbWUADQAAAExpbmtEYXRhTGlzdAAQVmVyc2lvbgAAAAAACUxhc3RXcml0ZQApVCUHkwEAAAABAP////9hAGEAAAAFX2lkABAAAAAEjwyt7qPsNEqe4Xwelwp4HQREYXRhAAUAAAAAAk5hbWUADQAAAExpbmtEYXRhTGlzdAAQVmVyc2lvbgABAAAACUxhc3RXcml0ZQAtVCUHkwEAAAACAP////9wAHAAAAAFX2lkABAAAAAEq7gZg5cuFEWPPEzLMKsbXwNEYXRhABYAAAACUGVyc29uYWxJZAABAAAAAAACTmFtZQALAAAAUGVyc29uYWxJZAAQVmVyc2lvbgAAAAAACUxhc3RXcml0ZQA9VCUH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65885072132000"/>
  <p:tag name="RUNTIME_ID" val="fa9e1402-12df-42d5-95f0-a9256063417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MAAAAAAAAAAwAAAAMAAAAA/////wUAqgsAAAAAAAAAAAAAIAD///////////////8AAAD///////////////8DAAAAAgD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2I42HK7FrNFprfOYArFZtsEAAAAAAADAAAAAAADAAAABAADAAAAAAADAAAABAADAAQA////////BQAAAAMAEAALb/FspSyDw0mPzAx8hrX/XQQAAAABAAMAAAAEAAMAAAABAAMAAAAEAP///////wMAAAAEAP///////wMAAAAEAP///////wQABgD///////8FAAAABAAQAAsMQL2kqf+fQKCoE4l3659UBAAAAAIAAwAAAAIAAwAAAAMAAwAAAAIAAwAAAAMAAwAAAAAAAwAAAAMAAwAAAAAAAwAAAAM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YjjYcrsWs0Wmt85gCsVm2wREYXRhAAUAAAAAAk5hbWUADQAAAExpbmtEYXRhTGlzdAAQVmVyc2lvbgABAAAACUxhc3RXcml0ZQCpTl+6jwEAAAABAP////9hAGEAAAAFX2lkABAAAAAEb/FspSyDw0mPzAx8hrX/XQREYXRhAAUAAAAAAk5hbWUADQAAAExpbmtEYXRhTGlzdAAQVmVyc2lvbgAAAAAACUxhc3RXcml0ZQCpTl+6jwEAAAACAP////9wAHAAAAAFX2lkABAAAAAEDEC9pKn/n0CgqBOJd+ufVANEYXRhABYAAAACUGVyc29uYWxJZAABAAAAAAACTmFtZQALAAAAUGVyc29uYWxJZAAQVmVyc2lvbgAAAAAACUxhc3RXcml0ZQC5Tl+6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QBAwAAAAMA////////DgAGTGlua0RhdGFMaXN0XzAEAAAAAQAFAAAAAAAFAAAAAg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155593690067"/>
  <p:tag name="EMPOWERCHARTSPROPERTIES_B_LENGTH" val="24576"/>
  <p:tag name="DOWN_MIGRATION_INITIAL_LAYOUT_REQUIRED" val="9.2.99"/>
  <p:tag name="RUNTIME_ID" val="8ff69dc4-811e-40b5-a317-5a30e5917aa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2gsAAAAAAAAAAAAAIAD///////////////8AAAD///////////////8DAAAAAgD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od/Gb28H1Brbh9CF1/teYEAAAAAAADAAAAAAADAAAAAwADAAAAAAADAAAAAwADAAIA////////BQAAAAMAEAALw75Wg0pTH0mjO04QfN9PvAQAAAABAAMAAAACAAMAAAAEAAMAAAACAAMAAAAEAAQABAD///////8FAAAABAAQAAunwtmS/wroRoMUkrYoEVwmBAAAAAIAAwAAAAMAAwAAAAEAAwAAAAM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h38ZvbwfUGtuH0IXX+15gREYXRhAAUAAAAAAk5hbWUADQAAAExpbmtEYXRhTGlzdAAQVmVyc2lvbgAAAAAACUxhc3RXcml0ZQB1jaG5jwEAAAABAP////9hAGEAAAAFX2lkABAAAAAEw75Wg0pTH0mjO04QfN9PvAREYXRhAAUAAAAAAk5hbWUADQAAAExpbmtEYXRhTGlzdAAQVmVyc2lvbgABAAAACUxhc3RXcml0ZQB6jaG5jwEAAAACAP////9wAHAAAAAFX2lkABAAAAAEp8LZkv8K6EaDFJK2KBFcJgNEYXRhABYAAAACUGVyc29uYWxJZAABAAAAAAACTmFtZQALAAAAUGVyc29uYWxJZAAQVmVyc2lvbgAAAAAACUxhc3RXcml0ZQCOjaG5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24031236181613"/>
  <p:tag name="EMPOWERCHARTSPROPERTIES_B_LENGTH" val="24576"/>
  <p:tag name="DOWN_MIGRATION_INITIAL_LAYOUT_REQUIRED" val="9.2.99"/>
  <p:tag name="RUNTIME_ID" val="60168816-9f91-4123-ba9a-335fbd15f0e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MBAQEBAQEBAQEBAQEBAQMAAAAAAAAAAwAAAAMAAAAA/////wUAzgs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UAAAACABAAC1oZEgwrVU5NpHZq01GVLIUEAAAAAAADAAAAAAADAAAAAwADAAAAAAD///////8DAAAAAAD///////8DAAAAAAD///////8DAAAAAAD///////8DAAAAAAD///////8DAAAAAAD///////8DAAEA////////BQAAAAMAEAAL4Y/JsWS370qt51eQjUjk7QQAAAABAAMAAAACAAMAAAAEAAQAAQD///////8FAAAABAAQAAsZP33vgsOBQpDHvIThWHh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hkSDCtVTk2kdmrTUZUshQREYXRhAAUAAAAAAk5hbWUADQAAAExpbmtEYXRhTGlzdAAQVmVyc2lvbgAAAAAACUxhc3RXcml0ZQDERV2IlAEAAAABAP////9hAGEAAAAFX2lkABAAAAAE4Y/JsWS370qt51eQjUjk7QREYXRhAAUAAAAAAk5hbWUADQAAAExpbmtEYXRhTGlzdAAQVmVyc2lvbgABAAAACUxhc3RXcml0ZQDFRV2IlAEAAAACAP////9wAHAAAAAFX2lkABAAAAAEGT9974LDgUKQx7yE4Vh4TwNEYXRhABYAAAACUGVyc29uYWxJZAABAAAAAAACTmFtZQALAAAAUGVyc29uYWxJZAAQVmVyc2lvbgAAAAAACUxhc3RXcml0ZQDeRV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MBAwAAAAMA////////DgAGTGlua0RhdGFMaXN0XzEEAAAAAQAFAAAAAgAFAAAABAAFAAAAAg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7145387"/>
  <p:tag name="EMPOWERCHARTSPROPERTIES_B_LENGTH" val="24576"/>
  <p:tag name="RUNTIME_ID" val="71c8febd-4f0c-456c-98ab-2b1a2eba50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2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dBnwaHjipKnQWfHGiZhFgEAAAAAAADAAAAAAADAAAAAwADAAAAAAADAAAAAwADAAAAAAADAAAABAADAAIA////////BQAAAAMAEAALkyAcnNQ3VkSbeHSYDytmHwQAAAABAAMAAAACAAMAAAAEAAMAAAACAAMAAAAEAAQAAwD///////8FAAAABAAQAAt9KZuqtscQT6x2XhAZA48UBAAAAAIAAwAAAAMAAwAAAAEAAwAAAAM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0GfBoeOKkqdBZ8caJmEWAREYXRhAAUAAAAAAk5hbWUADQAAAExpbmtEYXRhTGlzdAAQVmVyc2lvbgABAAAACUxhc3RXcml0ZQAS3iYHkwEAAAABAP////9hAGEAAAAFX2lkABAAAAAEkyAcnNQ3VkSbeHSYDytmHwREYXRhAAUAAAAAAk5hbWUADQAAAExpbmtEYXRhTGlzdAAQVmVyc2lvbgAAAAAACUxhc3RXcml0ZQAR3iYHkwEAAAACAP////9wAHAAAAAFX2lkABAAAAAEfSmbqrbHEE+sdl4QGQOPFANEYXRhABYAAAACUGVyc29uYWxJZAABAAAAAAACTmFtZQALAAAAUGVyc29uYWxJZAAQVmVyc2lvbgAAAAAACUxhc3RXcml0ZQAi3iYH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65886080485478"/>
  <p:tag name="RUNTIME_ID" val="5968f625-b606-4a22-a075-930b025e8e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pGbKGkj5ZNsAGt7dfIihQEAAAAAAADAAAABAADAAAAAwADAAAAAAD///////8DAAEA////////BQAAAAMAEAALiWXJ/vhINk2A58Br4FrZ9AQAAAABAAMAAAACAAMAAAABAAQAAQD///////8FAAAABAAQAAtygRpzKprWQ6XByCGIUsc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KkZsoaSPlk2wAa3t18iKFAREYXRhAAUAAAAAAk5hbWUADQAAAExpbmtEYXRhTGlzdAAQVmVyc2lvbgABAAAACUxhc3RXcml0ZQBC3iYHkwEAAAABAP////9hAGEAAAAFX2lkABAAAAAEiWXJ/vhINk2A58Br4FrZ9AREYXRhAAUAAAAAAk5hbWUADQAAAExpbmtEYXRhTGlzdAAQVmVyc2lvbgAAAAAACUxhc3RXcml0ZQA+3iYHkwEAAAACAP////9wAHAAAAAFX2lkABAAAAAEcoEacyqa1kOlwcghiFLHDQNEYXRhABYAAAACUGVyc29uYWxJZAABAAAAAAACTmFtZQALAAAAUGVyc29uYWxJZAAQVmVyc2lvbgAAAAAACUxhc3RXcml0ZQBU3iYH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65886081003213"/>
  <p:tag name="RUNTIME_ID" val="a43faece-2dab-4092-ab8d-9d6d143784f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LASTWRITEDATE" val="638744240076917728"/>
  <p:tag name="50A7715BD6DC4532A0845E797E858C53-0" val="&lt;Properties&gt;&#10;  &lt;Property Name=&quot;PersonalId&quot; Version=&quot;0&quot;&gt;&#10;    &lt;data&gt;kaA=&lt;/data&gt;&#10;    &lt;timestamp&gt;638886959321794921&lt;/timestamp&gt;&#10;  &lt;/Property&gt;&#10;  &lt;Property Name=&quot;DataLink&quot; Version=&quot;1&quot;&gt;&#10;    &lt;data&gt;wA==&lt;/data&gt;&#10;    &lt;timestamp&gt;638886959321804921&lt;/timestamp&gt;&#10;  &lt;/Property&gt;&#10;  &lt;Property Name=&quot;LinkDataList&quot; Version=&quot;1&quot;&gt;&#10;    &lt;data&gt;kA==&lt;/data&gt;&#10;    &lt;timestamp&gt;638886959321814921&lt;/timestamp&gt;&#10;  &lt;/Property&gt;&#10;&lt;/Properties&gt;"/>
  <p:tag name="EMPOWER_CHARTS_DATA_ID" val="50A7715BD6DC4532A0845E797E858C53"/>
  <p:tag name="EMPOWER_DATA_LAST_WRITE" val="638886959321870512"/>
  <p:tag name="RUNTIME_ID" val="b8516b21-eae2-4991-bdc6-a6fcf15da18b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LASTWRITEDATE" val="638744251879773659"/>
  <p:tag name="RUNTIME_ID" val="c338c756-f7f0-4429-9ba4-df0e17b87f10"/>
  <p:tag name="E2526A1CB658461994783800BD37B74C-0" val="&lt;Properties&gt;&#10;  &lt;Property Name=&quot;PersonalId&quot; Version=&quot;0&quot;&gt;&#10;    &lt;data&gt;kaA=&lt;/data&gt;&#10;    &lt;timestamp&gt;638886960081327156&lt;/timestamp&gt;&#10;  &lt;/Property&gt;&#10;  &lt;Property Name=&quot;DataLink&quot; Version=&quot;1&quot;&gt;&#10;    &lt;data&gt;wA==&lt;/data&gt;&#10;    &lt;timestamp&gt;638886960081337156&lt;/timestamp&gt;&#10;  &lt;/Property&gt;&#10;  &lt;Property Name=&quot;LinkDataList&quot; Version=&quot;1&quot;&gt;&#10;    &lt;data&gt;kA==&lt;/data&gt;&#10;    &lt;timestamp&gt;638886960081347156&lt;/timestamp&gt;&#10;  &lt;/Property&gt;&#10;&lt;/Properties&gt;"/>
  <p:tag name="EMPOWER_CHARTS_DATA_ID" val="E2526A1CB658461994783800BD37B74C"/>
  <p:tag name="EMPOWER_DATA_LAST_WRITE" val="63888696008136825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LASTWRITEDATE" val="638744251914288432"/>
  <p:tag name="RUNTIME_ID" val="7164d3a3-8319-40f5-8589-99a6c448f9e2"/>
  <p:tag name="4DA02A85266E4B24A00165984B369E7A-0" val="&lt;Properties&gt;&#10;  &lt;Property Name=&quot;PersonalId&quot; Version=&quot;0&quot;&gt;&#10;    &lt;data&gt;kaA=&lt;/data&gt;&#10;    &lt;timestamp&gt;638886960081552093&lt;/timestamp&gt;&#10;  &lt;/Property&gt;&#10;  &lt;Property Name=&quot;DataLink&quot; Version=&quot;1&quot;&gt;&#10;    &lt;data&gt;wA==&lt;/data&gt;&#10;    &lt;timestamp&gt;638886960081562093&lt;/timestamp&gt;&#10;  &lt;/Property&gt;&#10;  &lt;Property Name=&quot;LinkDataList&quot; Version=&quot;1&quot;&gt;&#10;    &lt;data&gt;kA==&lt;/data&gt;&#10;    &lt;timestamp&gt;638886960081572093&lt;/timestamp&gt;&#10;  &lt;/Property&gt;&#10;&lt;/Properties&gt;"/>
  <p:tag name="EMPOWER_CHARTS_DATA_ID" val="4DA02A85266E4B24A00165984B369E7A"/>
  <p:tag name="EMPOWER_DATA_LAST_WRITE" val="63888696008161071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LASTWRITEDATE" val="638744251879080085"/>
  <p:tag name="RUNTIME_ID" val="de8c627c-cab8-4f27-8360-39ade69c3042"/>
  <p:tag name="80B8B1DD935243929BB3B221E1E5BD0D-0" val="&lt;Properties&gt;&#10;  &lt;Property Name=&quot;PersonalId&quot; Version=&quot;0&quot;&gt;&#10;    &lt;data&gt;kaA=&lt;/data&gt;&#10;    &lt;timestamp&gt;638886960081779841&lt;/timestamp&gt;&#10;  &lt;/Property&gt;&#10;  &lt;Property Name=&quot;DataLink&quot; Version=&quot;1&quot;&gt;&#10;    &lt;data&gt;wA==&lt;/data&gt;&#10;    &lt;timestamp&gt;638886960081789841&lt;/timestamp&gt;&#10;  &lt;/Property&gt;&#10;  &lt;Property Name=&quot;LinkDataList&quot; Version=&quot;1&quot;&gt;&#10;    &lt;data&gt;kA==&lt;/data&gt;&#10;    &lt;timestamp&gt;638886960081799841&lt;/timestamp&gt;&#10;  &lt;/Property&gt;&#10;&lt;/Properties&gt;"/>
  <p:tag name="EMPOWER_CHARTS_DATA_ID" val="80B8B1DD935243929BB3B221E1E5BD0D"/>
  <p:tag name="EMPOWER_DATA_LAST_WRITE" val="63888696008181706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LASTWRITEDATE" val="638744251887054169"/>
  <p:tag name="RUNTIME_ID" val="3268159b-120e-42b3-b3a9-fbb88d02d2de"/>
  <p:tag name="A209E4E603E44746991213499F11C66E-0" val="&lt;Properties&gt;&#10;  &lt;Property Name=&quot;PersonalId&quot; Version=&quot;0&quot;&gt;&#10;    &lt;data&gt;kaA=&lt;/data&gt;&#10;    &lt;timestamp&gt;638886960081936895&lt;/timestamp&gt;&#10;  &lt;/Property&gt;&#10;  &lt;Property Name=&quot;DataLink&quot; Version=&quot;1&quot;&gt;&#10;    &lt;data&gt;wA==&lt;/data&gt;&#10;    &lt;timestamp&gt;638886960081946895&lt;/timestamp&gt;&#10;  &lt;/Property&gt;&#10;  &lt;Property Name=&quot;LinkDataList&quot; Version=&quot;1&quot;&gt;&#10;    &lt;data&gt;kA==&lt;/data&gt;&#10;    &lt;timestamp&gt;638886960081956895&lt;/timestamp&gt;&#10;  &lt;/Property&gt;&#10;&lt;/Properties&gt;"/>
  <p:tag name="EMPOWER_CHARTS_DATA_ID" val="A209E4E603E44746991213499F11C66E"/>
  <p:tag name="EMPOWER_DATA_LAST_WRITE" val="63888696008197219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zgsAAAAAAAAAAAAAIAD///////////////8AAAD///////////////8DAAAAAgD///////8DAAAABAD///////8DAAAABA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QQkApmIPlMtQeTT/+xoIgEAAAAAAADAAAAAAADAAAABAADAAUA////////BQAAAAMAEAALiXOrvMA7OEqfrWQcM/ssqwQAAAABAAMAAAAEAAMAAAABAAMAAAAEAP///////wMAAAAEAP///////wMAAAAAAP///////wMAAAAAAP///////wQAAwD///////8FAAAABAAQAAuaHZO7BNnfS4YWqevTv9Oy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BCQCmYg+Uy1B5NP/7GgiAREYXRhAAUAAAAAAk5hbWUADQAAAExpbmtEYXRhTGlzdAAQVmVyc2lvbgABAAAACUxhc3RXcml0ZQAeCDvalAEAAAABAP////9hAGEAAAAFX2lkABAAAAAEiXOrvMA7OEqfrWQcM/ssqwREYXRhAAUAAAAAAk5hbWUADQAAAExpbmtEYXRhTGlzdAAQVmVyc2lvbgAAAAAACUxhc3RXcml0ZQAVCDvalAEAAAACAP////9wAHAAAAAFX2lkABAAAAAEmh2TuwTZ30uGFqnr07/TsgNEYXRhABYAAAACUGVyc29uYWxJZAABAAAAAAACTmFtZQALAAAAUGVyc29uYWxJZAAQVmVyc2lvbgAAAAAACUxhc3RXcml0ZQAwCDva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44248894089371"/>
  <p:tag name="EMPOWERCHARTSPROPERTIES_B_LENGTH" val="24576"/>
  <p:tag name="RUNTIME_ID" val="8ef5e20f-89cc-451d-b457-327453296a3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/////wUA5gsAAAAAAAAAAAAAIAD///////////////8AAAD///////////////8DAAAABAD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8ymlF0djf9Lncw4dw1t9dwEAAAAAAADAAAABAADAAAAAwADAAAABAD///////8DAAAAAAD///////8DAAAAAAD///////8DAAEA////////BQAAAAMAEAALd5xVzesj30S1mzImTgR3swQAAAABAAMAAAACAAMAAAABAAQAAgD///////8FAAAABAAQAAuIf7YwydxkTa4DzO+/Y01n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KaUXR2N/0udzDh3DW313AREYXRhAAUAAAAAAk5hbWUADQAAAExpbmtEYXRhTGlzdAAQVmVyc2lvbgABAAAACUxhc3RXcml0ZQBTCDvalAEAAAABAP////9hAGEAAAAFX2lkABAAAAAEd5xVzesj30S1mzImTgR3swREYXRhAAUAAAAAAk5hbWUADQAAAExpbmtEYXRhTGlzdAAQVmVyc2lvbgAAAAAACUxhc3RXcml0ZQBQCDvalAEAAAACAP////9wAHAAAAAFX2lkABAAAAAEiH+2MMncZE2uA8zvv2NNZwNEYXRhABYAAAACUGVyc29uYWxJZAABAAAAAAACTmFtZQALAAAAUGVyc29uYWxJZAAQVmVyc2lvbgAAAAAACUxhc3RXcml0ZQBlCDva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44248894607613"/>
  <p:tag name="EMPOWERCHARTSPROPERTIES_B_LENGTH" val="24576"/>
  <p:tag name="RUNTIME_ID" val="47918b9a-21d0-4363-a04f-af3e91b1145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/gsAAAAAAAAAAAAAIAD///////////////8AAAD///////////////8DAAAAAg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Etuxu/8FJPiu9mnaFm3ZQEAAAAAAADAAAAAAADAAAAAwADAAEA////////BQAAAAMAEAALeWJmJeSmJ0epz/B/FUMD6gQAAAABAAMAAAACAAMAAAAEAAQAAwD///////8FAAAABAAQAAsGuPJ+pT6kRpZQrKY2r5dbBAAAAAIAAwAAAAMAAwAAAAE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8S27G7/wUk+K72adoWbdlAREYXRhAAUAAAAAAk5hbWUADQAAAExpbmtEYXRhTGlzdAAQVmVyc2lvbgAAAAAACUxhc3RXcml0ZQDfDImIlAEAAAABAP////9wAHAAAAAFX2lkABAAAAAEeWJmJeSmJ0epz/B/FUMD6gNEYXRhABYAAAACUGVyc29uYWxJZAABAAAAAAACTmFtZQALAAAAUGVyc29uYWxJZAAQVmVyc2lvbgAAAAAACUxhc3RXcml0ZQDmZRDxiwEAAAACAP////9hAGEAAAAFX2lkABAAAAAEBrjyfqU+pEaWUKymNq+XWwREYXRhAAUAAAAAAk5hbWUADQAAAExpbmtEYXRhTGlzdAAQVmVyc2lvbgABAAAACUxhc3RXcml0ZQDgDIm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BAADAAIBAwAAAAMA////////DAAGUGVyc29uYWxJZF8wBAAAAAEABQAAAAQABQAAAAEABQAAAAAA////////BAABAQMAAAAEAP///////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42707328745"/>
  <p:tag name="EMPOWERCHARTSPROPERTIES_B_LENGTH" val="24576"/>
  <p:tag name="RUNTIME_ID" val="890c874b-625c-4f38-800a-b78f4e7c186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YrHU8EOXtNh2Mm+9dc4FAEAAAAAAADAAAAAAADAAAABAADAAAAAAADAAAAAwADAAAAAAD///////8DAAIA////////BQAAAAMAEAALnQp0+ParW0yu6ahWTA10lwQAAAABAAMAAAAEAAMAAAABAAMAAAACAP///////wQAAQD///////8FAAAABAAQAAt4LKGE/bUrQJMiCBl3kYFO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isdTwQ5e02HYyb711zgUAREYXRhAAUAAAAAAk5hbWUADQAAAExpbmtEYXRhTGlzdAAQVmVyc2lvbgAAAAAACUxhc3RXcml0ZQAERl2IlAEAAAABAP////9hAGEAAAAFX2lkABAAAAAEnQp0+ParW0yu6ahWTA10lwREYXRhAAUAAAAAAk5hbWUADQAAAExpbmtEYXRhTGlzdAAQVmVyc2lvbgABAAAACUxhc3RXcml0ZQAERl2IlAEAAAACAP////9wAHAAAAAFX2lkABAAAAAEeCyhhP21K0CTIggZd5GBTgNEYXRhABYAAAACUGVyc29uYWxJZAABAAAAAAACTmFtZQALAAAAUGVyc29uYWxJZAAQVmVyc2lvbgAAAAAACUxhc3RXcml0ZQAVR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7655175"/>
  <p:tag name="EMPOWERCHARTSPROPERTIES_B_LENGTH" val="24576"/>
  <p:tag name="RUNTIME_ID" val="e928d147-aa44-4558-b25f-ee56c9da203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EJe4XZ5jVGh2iWRmJ+D58EAAAAAAADAAAABAADAAAAAwADAAAAAAADAAAAAwADAAAAAAD///////8DAAIA////////BQAAAAMAEAALDJFnqVy760arqfblP2suOAQAAAABAAMAAAACAAMAAAABAAMAAAACAP///////wQAAQD///////8FAAAABAAQAAszsQ9D+3RvRLgAQ4vKi512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Ql7hdnmNUaHaJZGYn4PnwREYXRhAAUAAAAAAk5hbWUADQAAAExpbmtEYXRhTGlzdAAQVmVyc2lvbgABAAAACUxhc3RXcml0ZQDItJaNlAEAAAABAP////9hAGEAAAAFX2lkABAAAAAEDJFnqVy760arqfblP2suOAREYXRhAAUAAAAAAk5hbWUADQAAAExpbmtEYXRhTGlzdAAQVmVyc2lvbgAAAAAACUxhc3RXcml0ZQDItJaNlAEAAAACAP////9wAHAAAAAFX2lkABAAAAAEM7EPQ/t0b0S4AEOLyouddgNEYXRhABYAAAACUGVyc29uYWxJZAABAAAAAAACTmFtZQALAAAAUGVyc29uYWxJZAAQVmVyc2lvbgAAAAAACUxhc3RXcml0ZQDhtJ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517640569"/>
  <p:tag name="EMPOWERCHARTSPROPERTIES_B_LENGTH" val="24576"/>
  <p:tag name="RUNTIME_ID" val="ac15d8c1-1590-4a3e-9638-7ad249133e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W1gWWqdsBGqOsHU/gcOfoEAAAAAAADAAAAAAADAAAAAwADAAEA////////BQAAAAMAEAALSoiudYG35E6Kod9xWqocWQQAAAABAAMAAAACAAMAAAAEAAQAAQD///////8FAAAABAAQAAumui3pfzXfTIMSGQxnxK4C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bWBZap2wEao6wdT+Bw5+gREYXRhAAUAAAAAAk5hbWUADQAAAExpbmtEYXRhTGlzdAAQVmVyc2lvbgABAAAACUxhc3RXcml0ZQBIPJaNlAEAAAABAP////9hAGEAAAAFX2lkABAAAAAESoiudYG35E6Kod9xWqocWQREYXRhAAUAAAAAAk5hbWUADQAAAExpbmtEYXRhTGlzdAAQVmVyc2lvbgAAAAAACUxhc3RXcml0ZQBHPJaNlAEAAAACAP////9wAHAAAAAFX2lkABAAAAAEprot6X8130yDEhkMZ8SuAgNEYXRhABYAAAACUGVyc29uYWxJZAABAAAAAAACTmFtZQALAAAAUGVyc29uYWxJZAAQVmVyc2lvbgAAAAAACUxhc3RXcml0ZQBbPJ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wAFAAAABAAFAAAAAAD///////8DAAIBAwAAAAMA////////DgAGTGlua0RhdGFMaXN0XzAEAAAAAQAFAAAAAAAFAAAAAg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209060112"/>
  <p:tag name="EMPOWERCHARTSPROPERTIES_B_LENGTH" val="24576"/>
  <p:tag name="RUNTIME_ID" val="11fe8272-d298-4efb-abf5-9d01185b4d7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8EGfz6MYUhHskRwJzodlxQEAAAAAAADAAAAAAADAAAAAwADAAMA////////BQAAAAMAEAALHDN0RdX3ZEiD9IeMmw8NLwQAAAABAAMAAAACAAMAAAAEAAMAAAAAAP///////wMAAAAAAP///////wQAAQD///////8FAAAABAAQAAvUrxmc11wBS57qxDIFntw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QZ/PoxhSEeyRHAnOh2XFAREYXRhAAUAAAAAAk5hbWUADQAAAExpbmtEYXRhTGlzdAAQVmVyc2lvbgABAAAACUxhc3RXcml0ZQDtJZONlAEAAAABAP////9hAGEAAAAFX2lkABAAAAAEHDN0RdX3ZEiD9IeMmw8NLwREYXRhAAUAAAAAAk5hbWUADQAAAExpbmtEYXRhTGlzdAAQVmVyc2lvbgAAAAAACUxhc3RXcml0ZQDpJZONlAEAAAACAP////9wAHAAAAAFX2lkABAAAAAE1K8ZnNdcAUue6sQyBZ7cEgNEYXRhABYAAAACUGVyc29uYWxJZAABAAAAAAACTmFtZQALAAAAUGVyc29uYWxJZAAQVmVyc2lvbgAAAAAACUxhc3RXcml0ZQAEJpO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88185810175"/>
  <p:tag name="EMPOWERCHARTSPROPERTIES_B_LENGTH" val="24576"/>
  <p:tag name="RUNTIME_ID" val="091f123c-ddce-41c6-a4e3-c7496bb4c2e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AgD///////8DAAAAAgD///////8DAAAAAw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xmtnuv2yVDj1SOCwC/rzUEAAAAAAADAAAAAAADAAAAAwADAAAAAAADAAAAAwADAAMA////////BQAAAAMAEAALZPezz6UaDE6MW8MiBaOCuwQAAAABAAMAAAACAAMAAAAEAAMAAAACAAMAAAAEAAMAAAAAAAMAAAAEAAQABAD///////8FAAAABAAQAAsKPjfaPA+HQqJkUWGMYPsQBAAAAAIAAwAAAAMAAwAAAAEAAwAAAAMA////////AwAAAAM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Ga2e6/bJUOPVI4LAL+vNQREYXRhAAUAAAAAAk5hbWUADQAAAExpbmtEYXRhTGlzdAAQVmVyc2lvbgABAAAACUxhc3RXcml0ZQCQvZaNlAEAAAABAP////9hAGEAAAAFX2lkABAAAAAEZPezz6UaDE6MW8MiBaOCuwREYXRhAAUAAAAAAk5hbWUADQAAAExpbmtEYXRhTGlzdAAQVmVyc2lvbgAAAAAACUxhc3RXcml0ZQCQvZaNlAEAAAACAP////9wAHAAAAAFX2lkABAAAAAECj432jwPh0KiZFFhjGD7EANEYXRhABYAAAACUGVyc29uYWxJZAABAAAAAAACTmFtZQALAAAAUGVyc29uYWxJZAAQVmVyc2lvbgAAAAAACUxhc3RXcml0ZQCdvZ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C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AFAAAABAADAAEBAwAAAAMA////////DgAGTGlua0RhdGFMaXN0XzAEAAAAAQAFAAAAAAAFAAAAAgAEAAQBAwAAAAQA////////DAAGUGVyc29uYWxJZF8wBAAAAAIABQAAAAIABQAAAAEABQAAAAIA////////BQAAAAA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539938750"/>
  <p:tag name="EMPOWERCHARTSPROPERTIES_B_LENGTH" val="24576"/>
  <p:tag name="RUNTIME_ID" val="a0f71cd8-0f89-47dc-a949-b7d98233449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0XFwxUWbuBGkakOJY7yuAIEAAAAAAADAAAAAAADAAAAAwADAAAAAAADAAAAAwADAAAAAAD///////8DAAAAAAD///////8DAAAAAAD///////8DAAIA////////BQAAAAMAEAALE2JRdVT7T0qw6AeKZSMTOQQAAAABAAMAAAACAAMAAAAEAAMAAAACAP///////wQAAQD///////8FAAAABAAQAAvex7Wvu+HcSY+gwEfI9Ln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cXDFRZu4EaRqQ4ljvK4AgREYXRhAAUAAAAAAk5hbWUADQAAAExpbmtEYXRhTGlzdAAQVmVyc2lvbgABAAAACUxhc3RXcml0ZQBzRZaNlAEAAAABAP////9hAGEAAAAFX2lkABAAAAAEE2JRdVT7T0qw6AeKZSMTOQREYXRhAAUAAAAAAk5hbWUADQAAAExpbmtEYXRhTGlzdAAQVmVyc2lvbgAAAAAACUxhc3RXcml0ZQByRZaNlAEAAAACAP////9wAHAAAAAFX2lkABAAAAAE3se1r7vh3EmPoMBHyPS59wNEYXRhABYAAAACUGVyc29uYWxJZAABAAAAAAACTmFtZQALAAAAUGVyc29uYWxJZAAQVmVyc2lvbgAAAAAACUxhc3RXcml0ZQCDRZ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232492736"/>
  <p:tag name="EMPOWERCHARTSPROPERTIES_B_LENGTH" val="24576"/>
  <p:tag name="RUNTIME_ID" val="626891d0-f609-470e-b905-cc56a07ca60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NNKE2I3rxIu2M50uAMI9kEAAAAAAADAAAABAADAAAAAwADAAIA////////BQAAAAMAEAALN4UIpZDkT0mHDHcVVztIcQQAAAABAAMAAAACAAMAAAABAAMAAAAEAP///////wQAAgD///////8FAAAABAAQAAu/jZwIHBRjQ7e0aAcUFIGl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00oTYjevEi7YznS4Awj2QREYXRhAAUAAAAAAk5hbWUADQAAAExpbmtEYXRhTGlzdAAQVmVyc2lvbgAAAAAACUxhc3RXcml0ZQA6u5aNlAEAAAABAP////9hAGEAAAAFX2lkABAAAAAEN4UIpZDkT0mHDHcVVztIcQREYXRhAAUAAAAAAk5hbWUADQAAAExpbmtEYXRhTGlzdAAQVmVyc2lvbgABAAAACUxhc3RXcml0ZQA7u5aNlAEAAAACAP////9wAHAAAAAFX2lkABAAAAAEv42cCBwUY0O3tGgHFBSBpQNEYXRhABYAAAACUGVyc29uYWxJZAABAAAAAAACTmFtZQALAAAAUGVyc29uYWxJZAAQVmVyc2lvbgAAAAAACUxhc3RXcml0ZQBOu5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AFAAAABAAFAAAAAAAFAAAABAA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534052240"/>
  <p:tag name="EMPOWERCHARTSPROPERTIES_B_LENGTH" val="24576"/>
  <p:tag name="RUNTIME_ID" val="5822c59f-0210-48c5-9695-b22d1f80cd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/////wUA8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VZww7lFO1KvJzoBHx9wSAEAAAAAAADAAAAAAADAAAABAADAAAAAAADAAAABAADAAIA////////BQAAAAMAEAALHRrlsGXw506Uif3riaTfDgQAAAABAAMAAAAEAAMAAAABAAMAAAAEAP///////wQAAgD///////8FAAAABAAQAAvrboNf8Y7KTqFQPTNAQCbL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VnDDuUU7Uq8nOgEfH3BIAREYXRhAAUAAAAAAk5hbWUADQAAAExpbmtEYXRhTGlzdAAQVmVyc2lvbgABAAAACUxhc3RXcml0ZQBSuZaNlAEAAAABAP////9hAGEAAAAFX2lkABAAAAAEHRrlsGXw506Uif3riaTfDgREYXRhAAUAAAAAAk5hbWUADQAAAExpbmtEYXRhTGlzdAAQVmVyc2lvbgAAAAAACUxhc3RXcml0ZQBRuZaNlAEAAAACAP////9wAHAAAAAFX2lkABAAAAAE626DX/GOyk6hUD0zQEAmywNEYXRhABYAAAACUGVyc29uYWxJZAABAAAAAAACTmFtZQALAAAAUGVyc29uYWxJZAAQVmVyc2lvbgAAAAAACUxhc3RXcml0ZQBmuZ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QBAwAAAAMA////////DgAGTGlua0RhdGFMaXN0XzAEAAAAAQAFAAAAAAAFAAAAAg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529213419"/>
  <p:tag name="EMPOWERCHARTSPROPERTIES_B_LENGTH" val="24576"/>
  <p:tag name="RUNTIME_ID" val="122e6d95-5112-4fab-8332-afc72130d83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3rJNXX5+JtMrtHmrm5wAlEEAAAAAAADAAAABAADAAAAAwADAAAABAD///////8DAAAAAAD///////8DAAEA////////BQAAAAMAEAALcbI09nyrJUC1Lc5v4KzKYAQAAAABAAMAAAACAAMAAAABAAQAAgD///////8FAAAABAAQAAuMtkVvgg6gSaaQVa+gg9kE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sk1dfn4m0yu0eaubnACUQREYXRhAAUAAAAAAk5hbWUADQAAAExpbmtEYXRhTGlzdAAQVmVyc2lvbgAAAAAACUxhc3RXcml0ZQA9t5aNlAEAAAABAP////9hAGEAAAAFX2lkABAAAAAEcbI09nyrJUC1Lc5v4KzKYAREYXRhAAUAAAAAAk5hbWUADQAAAExpbmtEYXRhTGlzdAAQVmVyc2lvbgABAAAACUxhc3RXcml0ZQA9t5aNlAEAAAACAP////9wAHAAAAAFX2lkABAAAAAEjLZFb4IOoEmmkFWvoIPZBANEYXRhABYAAAACUGVyc29uYWxJZAABAAAAAAACTmFtZQALAAAAUGVyc29uYWxJZAAQVmVyc2lvbgAAAAAACUxhc3RXcml0ZQBPt5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MBAwAAAAQA////////DAAGUGVyc29uYWxJZF8wBAAAAAIABQAAAAMABQAAAAEABQAAAAMA////////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523842957"/>
  <p:tag name="EMPOWERCHARTSPROPERTIES_B_LENGTH" val="24576"/>
  <p:tag name="RUNTIME_ID" val="d41d5a68-c02c-45c9-9241-85b44f6194d8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9oSsXNgT4pBi1UuBDvEmJ8EAAAAAAADAAAABAADAAAAAwADAAEA////////BQAAAAMAEAALd/10qQ7QW0aEpK1fV59lwAQAAAABAAMAAAACAAMAAAABAAQAAQD///////8FAAAABAAQAAvAHqAJqgVQQpTUirD29zrb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2hKxc2BPikGLVS4EO8SYnwREYXRhAAUAAAAAAk5hbWUADQAAAExpbmtEYXRhTGlzdAAQVmVyc2lvbgAAAAAACUxhc3RXcml0ZQAjJpONlAEAAAABAP////9hAGEAAAAFX2lkABAAAAAEd/10qQ7QW0aEpK1fV59lwAREYXRhAAUAAAAAAk5hbWUADQAAAExpbmtEYXRhTGlzdAAQVmVyc2lvbgABAAAACUxhc3RXcml0ZQAjJpONlAEAAAACAP////9wAHAAAAAFX2lkABAAAAAEwB6gCaoFUEKU1Iqw9vc62wNEYXRhABYAAAACUGVyc29uYWxJZAABAAAAAAACTmFtZQALAAAAUGVyc29uYWxJZAAQVmVyc2lvbgAAAAAACUxhc3RXcml0ZQA2JpO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88186340257"/>
  <p:tag name="EMPOWERCHARTSPROPERTIES_B_LENGTH" val="24576"/>
  <p:tag name="RUNTIME_ID" val="84ce0f49-8c44-4ee1-b8bb-2c8b281c0ef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/////wUAqgsAAAAAAAAAAAAAIAD///////////////8AAAD////////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wcqExT2RmNCnv+qLkwstw8EAAAAAAADAAAAAAADAAAAAwADAAcA////////BQAAAAMAEAALiX5Gz4KQjk2CwAjcRPDTxgQAAAABAAMAAAACAAMAAAAEAAMAAAAAAAMAAAAEAAMAAAAAAAMAAAAEAAMAAAAAAAMAAAAEAAMAAAAAAP///////wMAAAAAAP///////wMAAAAAAP///////wQABAD///////8FAAAABAAQAAsE/pf1bzgYQYY2yj9KlZBTBAAAAAIAAwAAAAMAAwAAAAEAAwAAAAMA////////AwAAAAMA////////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ByoTFPZGY0Ke/6ouTCy3DwREYXRhAAUAAAAAAk5hbWUADQAAAExpbmtEYXRhTGlzdAAQVmVyc2lvbgABAAAACUxhc3RXcml0ZQDVSJaNlAEAAAABAP////9hAGEAAAAFX2lkABAAAAAEiX5Gz4KQjk2CwAjcRPDTxgREYXRhAAUAAAAAAk5hbWUADQAAAExpbmtEYXRhTGlzdAAQVmVyc2lvbgAAAAAACUxhc3RXcml0ZQDUSJaNlAEAAAACAP////9wAHAAAAAFX2lkABAAAAAEBP6X9W84GEGGNso/SpWQUwNEYXRhABYAAAACUGVyc29uYWxJZAABAAAAAAACTmFtZQALAAAAUGVyc29uYWxJZAAQVmVyc2lvbgAAAAAACUxhc3RXcml0ZQDjSJ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241115258"/>
  <p:tag name="EMPOWERCHARTSPROPERTIES_B_LENGTH" val="24576"/>
  <p:tag name="RUNTIME_ID" val="642674a1-d09e-4786-8df9-1021972db0e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/////wUA/gs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0q1G1ILTdBhCjWZUfbTZkEAAAAAAADAAAABAADAAAAAwADAAAAAAADAAAAAwADAAIA////////BQAAAAMAEAALu/pd2pCQa0as43XF9w9wWQQAAAABAAMAAAACAAMAAAABAAMAAAACAP///////wQAAQD///////8FAAAABAAQAAtmg4c8roF8T7GR5GJoC/D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SrUbUgtN0GEKNZlR9tNmQREYXRhAAUAAAAAAk5hbWUADQAAAExpbmtEYXRhTGlzdAAQVmVyc2lvbgABAAAACUxhc3RXcml0ZQA1Rl2IlAEAAAABAP////9hAGEAAAAFX2lkABAAAAAEu/pd2pCQa0as43XF9w9wWQREYXRhAAUAAAAAAk5hbWUADQAAAExpbmtEYXRhTGlzdAAQVmVyc2lvbgAAAAAACUxhc3RXcml0ZQA0Rl2IlAEAAAACAP////9wAHAAAAAFX2lkABAAAAAEZoOHPK6BfE+xkeRiaAvw1wNEYXRhABYAAAACUGVyc29uYWxJZAABAAAAAAACTmFtZQALAAAAUGVyc29uYWxJZAAQVmVyc2lvbgAAAAAACUxhc3RXcml0ZQBFR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wD///////8DAAUBAwAAAAMA////////DgAGTGlua0RhdGFMaXN0XzAEAAAAAQAFAAAAAAAFAAAAAgAFAAAAAAAFAAAAAgA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8171802"/>
  <p:tag name="EMPOWERCHARTSPROPERTIES_B_LENGTH" val="24576"/>
  <p:tag name="RUNTIME_ID" val="bfecaee9-7853-465d-8e0e-93a9c3e9123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AgD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wJGhk368hCvrj2MhJTOosEAAAAAAADAAAAAAADAAAAAwADAAAAAAADAAAAAwADAAQA////////BQAAAAMAEAAL+kQ9pDhvnEC573jnSK9K2gQAAAABAAMAAAACAAMAAAAEAAMAAAACAP///////wMAAAAAAP///////wMAAAAAAP///////wQAAQD///////8FAAAABAAQAAt1ftC/MZvaQJm4lTy+tTV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AkaGTfryEK+uPYyElM6iwREYXRhAAUAAAAAAk5hbWUADQAAAExpbmtEYXRhTGlzdAAQVmVyc2lvbgABAAAACUxhc3RXcml0ZQAaPJaNlAEAAAABAP////9hAGEAAAAFX2lkABAAAAAE+kQ9pDhvnEC573jnSK9K2gREYXRhAAUAAAAAAk5hbWUADQAAAExpbmtEYXRhTGlzdAAQVmVyc2lvbgAAAAAACUxhc3RXcml0ZQAZPJaNlAEAAAACAP////9wAHAAAAAFX2lkABAAAAAEdX7QvzGb2kCZuJU8vrU1YgNEYXRhABYAAAACUGVyc29uYWxJZAABAAAAAAACTmFtZQALAAAAUGVyc29uYWxJZAAQVmVyc2lvbgAAAAAACUxhc3RXcml0ZQAuPJaN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1390208622192"/>
  <p:tag name="EMPOWERCHARTSPROPERTIES_B_LENGTH" val="24576"/>
  <p:tag name="RUNTIME_ID" val="ca1d86fc-ee3d-4a7f-9229-b71fe1f0912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Q0vjklcJNOqcw5/RzdyjUEAAAAAAADAAAABAADAAAAAwADAAAAAAD///////8DAAEA////////BQAAAAMAEAALc198y/CRO0Wb0PegUaVLTAQAAAABAAMAAAACAAMAAAABAAQAAQD///////8FAAAABAAQAAsQrakzpnyYQYrLO4D6QWFR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VDS+OSVwk06pzDn9HN3KNQREYXRhAAUAAAAAAk5hbWUADQAAAExpbmtEYXRhTGlzdAAQVmVyc2lvbgAAAAAACUxhc3RXcml0ZQCQPrpllQEAAAABAP////9hAGEAAAAFX2lkABAAAAAEc198y/CRO0Wb0PegUaVLTAREYXRhAAUAAAAAAk5hbWUADQAAAExpbmtEYXRhTGlzdAAQVmVyc2lvbgABAAAACUxhc3RXcml0ZQCRPrpllQEAAAACAP////9wAHAAAAAFX2lkABAAAAAEEK2pM6Z8mEGKyzuA+kFhUQNEYXRhABYAAAACUGVyc29uYWxJZAABAAAAAAACTmFtZQALAAAAUGVyc29uYWxJZAAQVmVyc2lvbgAAAAAACUxhc3RXcml0ZQC0Prpl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aCwAAAAAAAAAAAAAgAf///////////////wAAAP///////////////wUAAAACAP///////wUAAAACAP///////wUAAAACAP///////wUAAAACAP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DgAGTGlua0RhdGFMaXN0XzAEAAAAAAAFAAAAAAAFAAAAAwAFAAAAAAAFAAAAAwAFAAAAAAAFAAAAAwAFAAAAAAAFAAAAAwAFAAAAAAAFAAAAAwADAAYBAwAAAAMA////////DgAGTGlua0RhdGFMaXN0XzEEAAAAAQAFAAAAAgAFAAAABAAFAAAAAgAFAAAABAAFAAAAAgAFAAAABAAFAAAAAgD///////8FAAAAAg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67652594608100"/>
  <p:tag name="EMPOWERCHARTSPROPERTIES_B_LENGTH" val="24576"/>
  <p:tag name="RUNTIME_ID" val="121471ca-37d4-4cea-9aa7-8092d0f3197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gBAQEBAQEBAQEBAQEBAQMAAAAAAAAAAwAAAAMAAAAA/////wUACgwAAAAAAAAAAAAAIAD///////////////8AAAD///////////////8DAAAABA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9Mgr8T69ihPshbmFiXykDYEAAAAAAADAAAABAADAAAAAwADAAIA////////BQAAAAMAEAALGbKh56dbxEGFnynBAtjlfAQAAAABAAMAAAACAAMAAAABAAMAAAAAAP///////wQAAQD///////8FAAAABAAQAAtcRTMLcDU7ToorMJFBCn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0yCvxPr2KE+yFuYWJfKQNgREYXRhAAUAAAAAAk5hbWUADQAAAExpbmtEYXRhTGlzdAAQVmVyc2lvbgABAAAACUxhc3RXcml0ZQBoRl2IlAEAAAABAP////9hAGEAAAAFX2lkABAAAAAEGbKh56dbxEGFnynBAtjlfAREYXRhAAUAAAAAAk5hbWUADQAAAExpbmtEYXRhTGlzdAAQVmVyc2lvbgAAAAAACUxhc3RXcml0ZQBoRl2IlAEAAAACAP////9wAHAAAAAFX2lkABAAAAAEXEUzC3A1O06KKzCRQQp7IQNEYXRhABYAAAACUGVyc29uYWxJZAABAAAAAAACTmFtZQALAAAAUGVyc29uYWxJZAAQVmVyc2lvbgAAAAAACUxhc3RXcml0ZQB+Rl2Il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DAP///////wUAAAACAP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gBAwAAAAIA////////DgAGTGlua0RhdGFMaXN0XzEEAAAAAAAFAAAAAwAFAAAABAAFAAAAAAAFAAAABAAFAAAAAAD///////8FAAAAAAD///////8FAAAAAAD///////8FAAAAAAD///////8FAAAAAAD///////8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30514018707124"/>
  <p:tag name="EMPOWERCHARTSPROPERTIES_B_LENGTH" val="24576"/>
  <p:tag name="RUNTIME_ID" val="524b8f5f-4b05-47ae-a604-afea5e48e493"/>
</p:tagLst>
</file>

<file path=ppt/theme/theme1.xml><?xml version="1.0" encoding="utf-8"?>
<a:theme xmlns:a="http://schemas.openxmlformats.org/drawingml/2006/main" name="Bosch 2024">
  <a:themeElements>
    <a:clrScheme name="Bosch Blau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007BC0"/>
      </a:accent1>
      <a:accent2>
        <a:srgbClr val="004975"/>
      </a:accent2>
      <a:accent3>
        <a:srgbClr val="007BC0"/>
      </a:accent3>
      <a:accent4>
        <a:srgbClr val="004975"/>
      </a:accent4>
      <a:accent5>
        <a:srgbClr val="007BC0"/>
      </a:accent5>
      <a:accent6>
        <a:srgbClr val="004975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198F02AD-A328-41CF-AEF3-4AEA9DC97E6D}" vid="{A553CE3C-9352-4BF3-9E58-0BEA5976575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2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3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4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5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6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7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8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ppt/theme/themeOverride9.xml><?xml version="1.0" encoding="utf-8"?>
<a:themeOverride xmlns:a="http://schemas.openxmlformats.org/drawingml/2006/main">
  <a:clrScheme name="Bosch Grü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00884A"/>
    </a:accent1>
    <a:accent2>
      <a:srgbClr val="00512A"/>
    </a:accent2>
    <a:accent3>
      <a:srgbClr val="00884A"/>
    </a:accent3>
    <a:accent4>
      <a:srgbClr val="00512A"/>
    </a:accent4>
    <a:accent5>
      <a:srgbClr val="00884A"/>
    </a:accent5>
    <a:accent6>
      <a:srgbClr val="00512A"/>
    </a:accent6>
    <a:hlink>
      <a:srgbClr val="738CB4"/>
    </a:hlink>
    <a:folHlink>
      <a:srgbClr val="B0BBD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ax_Colors>
  <Line size="7">
    <Color val="9e2896" tooltip="Bosch Purple 40"/>
    <Color val="551151" tooltip="Bosch Purple 20"/>
  </Line>
  <Line size="7">
    <Color val="007bc0" tooltip="Bosch Blue 50"/>
    <Color val="004975" tooltip="Bosch Blue 30"/>
  </Line>
  <Line size="7">
    <Color val="18837e" tooltip="Bosch Turquoise 50"/>
    <Color val="0a4f4b" tooltip="Bosch Turquoise 30"/>
  </Line>
  <Line size="7">
    <Color val="00884a" tooltip="Bosch Green 50"/>
    <Color val="00512a" tooltip="Bosch Green 30"/>
  </Line>
</sax_Colors>
</file>

<file path=customXml/item2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AttachmentRemark</Sektion>
      <Reihenfolge>0</Reihenfolge>
    </Variable>
    <Variable>
      <Name>departmentshort</Name>
      <OrgInhalt>PS-DC/PRM-MI</OrgInhalt>
      <Wert>PS-DC/PRM-MI</Wert>
      <Platzhalter>False</Platzhalter>
      <DocDatenDialog>True</DocDatenDialog>
      <Label>Authoring</Label>
      <FrageVar>False</FrageVar>
      <Prefix/>
      <Suffix/>
      <WegfallVar/>
      <MussFeld>False</MussFeld>
      <Trenner>
        <VariableVor>classification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lassification</Name>
      <OrgInhalt>Internal C-SC1</OrgInhalt>
      <Wert>Public C-SC0</Wert>
      <Platzhalter>False</Platzhalter>
      <DocDatenDialog>True</DocDatenDialog>
      <Label>Classification:</Label>
      <FrageVar>False</FrageVar>
      <Prefix/>
      <Suffix/>
      <WegfallVar/>
      <ComboBox>
        <Option>Public C-SC0</Option>
        <Option>Internal C-SC1</Option>
        <Option>Confidential C-SC2</Option>
        <Option>Strictly confidential C-SC3</Option>
        <Option/>
      </ComboBox>
      <MussFeld>False</MussFeld>
      <InDokument>True</InDokument>
      <Sektion>Bosch_footer_1</Sektion>
      <Reihenfolge>0</Reihenfolge>
    </Variable>
    <Variable>
      <Name>classification2</Name>
      <OrgInhalt>Internal C-SC1</OrgInhalt>
      <Wert>Internal C-SC1</Wert>
      <Platzhalter>False</Platzhalter>
      <DocDatenDialog>False</DocDatenDialog>
      <Label>Classification:</Label>
      <FrageVar>False</FrageVar>
      <Prefix/>
      <Suffix/>
      <WegfallVar/>
      <ComboBox>
        <Option>Public C-SC0</Option>
        <Option>Internal C-SC1</Option>
        <Option>Confidential C-SC2</Option>
        <Option>Strictly confidential C-SC3</Option>
        <Option/>
      </ComboBox>
      <MussFeld>False</MussFeld>
      <InDokument>True</InDokument>
      <Sektion>Bosch_footer_conf</Sektion>
      <Reihenfolge>0</Reihenfolge>
    </Variable>
    <Variable>
      <Name>copyright</Name>
      <OrgInhalt>© Robert Bosch GmbH 2025. All rights reserved, also regarding any disposal, exploitation, reproduction, editing, distribution, as well as in the event of applications for industrial property rights.</OrgInhalt>
      <Wert>© Robert Bosch GmbH 2025. All rights reserved, also regarding any disposal, exploitation, reproduction, editing, distribution, as well as in the event of applications for industrial property rights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25-10-24</OrgInhalt>
      <Wert>2025-10-24</Wert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lassification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/>
      <Wert/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lassification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Props1.xml><?xml version="1.0" encoding="utf-8"?>
<ds:datastoreItem xmlns:ds="http://schemas.openxmlformats.org/officeDocument/2006/customXml" ds:itemID="{D0252559-44F8-474C-B66D-E357B88E32C2}">
  <ds:schemaRefs/>
</ds:datastoreItem>
</file>

<file path=customXml/itemProps2.xml><?xml version="1.0" encoding="utf-8"?>
<ds:datastoreItem xmlns:ds="http://schemas.openxmlformats.org/officeDocument/2006/customXml" ds:itemID="{9AB5881D-0F78-4F9E-995E-84BCF8F3A2F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_1</Template>
  <TotalTime>0</TotalTime>
  <Words>649</Words>
  <Application>Microsoft Office PowerPoint</Application>
  <PresentationFormat>Benutzerdefiniert</PresentationFormat>
  <Paragraphs>203</Paragraphs>
  <Slides>1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Bosch Office Sans</vt:lpstr>
      <vt:lpstr>Bosch-Icon</vt:lpstr>
      <vt:lpstr>Calibri</vt:lpstr>
      <vt:lpstr>Comic Sans MS</vt:lpstr>
      <vt:lpstr>Symbol</vt:lpstr>
      <vt:lpstr>Wingdings</vt:lpstr>
      <vt:lpstr>Bosch 2024</vt:lpstr>
      <vt:lpstr>PowerPoint-Präsentation</vt:lpstr>
      <vt:lpstr>PowerPoint-Präsentation</vt:lpstr>
      <vt:lpstr>Bosch compact gas compressor </vt:lpstr>
      <vt:lpstr>compact, lightweight, robust </vt:lpstr>
      <vt:lpstr>hydrogen use cases</vt:lpstr>
      <vt:lpstr>hydrogen use cases</vt:lpstr>
      <vt:lpstr>scalability + modularity = redundancy</vt:lpstr>
      <vt:lpstr>Circular Economy with remanufacturing concept</vt:lpstr>
      <vt:lpstr>Efficiency throughout the lifecycle</vt:lpstr>
      <vt:lpstr>industry applications</vt:lpstr>
      <vt:lpstr>specifi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pieth Axel (PS-DC/PRM-MI)</dc:creator>
  <cp:lastModifiedBy>Spieth Axel (PS-DC/PRM-MI)</cp:lastModifiedBy>
  <cp:revision>4</cp:revision>
  <dcterms:created xsi:type="dcterms:W3CDTF">2025-10-24T14:12:38Z</dcterms:created>
  <dcterms:modified xsi:type="dcterms:W3CDTF">2025-11-26T15:3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lassification">
    <vt:lpwstr>$tr_sc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</Properties>
</file>